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8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9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2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3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4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5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651" r:id="rId2"/>
    <p:sldMasterId id="2147483673" r:id="rId3"/>
    <p:sldMasterId id="2147483675" r:id="rId4"/>
    <p:sldMasterId id="2147483677" r:id="rId5"/>
    <p:sldMasterId id="2147483679" r:id="rId6"/>
    <p:sldMasterId id="2147483681" r:id="rId7"/>
    <p:sldMasterId id="2147483755" r:id="rId8"/>
    <p:sldMasterId id="2147483779" r:id="rId9"/>
    <p:sldMasterId id="2147483791" r:id="rId10"/>
    <p:sldMasterId id="2147483827" r:id="rId11"/>
    <p:sldMasterId id="2147483840" r:id="rId12"/>
    <p:sldMasterId id="2147483852" r:id="rId13"/>
    <p:sldMasterId id="2147483876" r:id="rId14"/>
    <p:sldMasterId id="2147483914" r:id="rId15"/>
    <p:sldMasterId id="2147483939" r:id="rId16"/>
    <p:sldMasterId id="2147483956" r:id="rId17"/>
    <p:sldMasterId id="2147483968" r:id="rId18"/>
  </p:sldMasterIdLst>
  <p:notesMasterIdLst>
    <p:notesMasterId r:id="rId29"/>
  </p:notesMasterIdLst>
  <p:sldIdLst>
    <p:sldId id="407" r:id="rId19"/>
    <p:sldId id="402" r:id="rId20"/>
    <p:sldId id="404" r:id="rId21"/>
    <p:sldId id="403" r:id="rId22"/>
    <p:sldId id="410" r:id="rId23"/>
    <p:sldId id="400" r:id="rId24"/>
    <p:sldId id="405" r:id="rId25"/>
    <p:sldId id="401" r:id="rId26"/>
    <p:sldId id="406" r:id="rId27"/>
    <p:sldId id="409" r:id="rId28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820C"/>
    <a:srgbClr val="2B62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96" autoAdjust="0"/>
    <p:restoredTop sz="92950" autoAdjust="0"/>
  </p:normalViewPr>
  <p:slideViewPr>
    <p:cSldViewPr>
      <p:cViewPr>
        <p:scale>
          <a:sx n="78" d="100"/>
          <a:sy n="78" d="100"/>
        </p:scale>
        <p:origin x="1901" y="1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907"/>
            <a:ext cx="5438140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30091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7031BEC-FDC6-419B-9EC0-D475BAF81A7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52253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07633">
              <a:buFontTx/>
              <a:buNone/>
              <a:defRPr/>
            </a:pPr>
            <a:r>
              <a:rPr lang="ru-RU" dirty="0" smtClean="0">
                <a:solidFill>
                  <a:schemeClr val="tx2"/>
                </a:solidFill>
              </a:rPr>
              <a:t>2</a:t>
            </a:r>
            <a:endParaRPr lang="ru-RU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54880C-2E84-4881-B0C5-F6637D4F14AC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42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07633">
              <a:buFontTx/>
              <a:buNone/>
              <a:defRPr/>
            </a:pPr>
            <a:r>
              <a:rPr lang="ru-RU" dirty="0" smtClean="0">
                <a:solidFill>
                  <a:schemeClr val="tx2"/>
                </a:solidFill>
              </a:rPr>
              <a:t>2</a:t>
            </a:r>
            <a:endParaRPr lang="ru-RU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454880C-2E84-4881-B0C5-F6637D4F14AC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73025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Relationship Id="rId4" Type="http://schemas.openxmlformats.org/officeDocument/2006/relationships/hyperlink" Target="http://www.rosatom.ru/" TargetMode="Externa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1.xml"/><Relationship Id="rId4" Type="http://schemas.openxmlformats.org/officeDocument/2006/relationships/hyperlink" Target="http://www.rosatom.ru/" TargetMode="Externa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hyperlink" Target="http://www.rosatom.ru/" TargetMode="Externa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Relationship Id="rId4" Type="http://schemas.openxmlformats.org/officeDocument/2006/relationships/hyperlink" Target="http://www.rosatom.ru/" TargetMode="Externa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3.xml"/><Relationship Id="rId4" Type="http://schemas.openxmlformats.org/officeDocument/2006/relationships/hyperlink" Target="http://www.rosatom.ru/" TargetMode="Externa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.xml"/><Relationship Id="rId7" Type="http://schemas.openxmlformats.org/officeDocument/2006/relationships/image" Target="../media/image1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5" Type="http://schemas.openxmlformats.org/officeDocument/2006/relationships/slide" Target="../slides/slide6.xml"/><Relationship Id="rId4" Type="http://schemas.openxmlformats.org/officeDocument/2006/relationships/hyperlink" Target="http://www.rosatom.ru/" TargetMode="Externa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5" Type="http://schemas.openxmlformats.org/officeDocument/2006/relationships/slide" Target="../slides/slide6.xml"/><Relationship Id="rId4" Type="http://schemas.openxmlformats.org/officeDocument/2006/relationships/hyperlink" Target="http://www.rosatom.ru/" TargetMode="Externa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Relationship Id="rId5" Type="http://schemas.openxmlformats.org/officeDocument/2006/relationships/slide" Target="../slides/slide6.xml"/><Relationship Id="rId4" Type="http://schemas.openxmlformats.org/officeDocument/2006/relationships/hyperlink" Target="http://www.rosatom.ru/" TargetMode="Externa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Relationship Id="rId5" Type="http://schemas.openxmlformats.org/officeDocument/2006/relationships/slide" Target="../slides/slide6.xml"/><Relationship Id="rId4" Type="http://schemas.openxmlformats.org/officeDocument/2006/relationships/hyperlink" Target="http://www.rosatom.ru/" TargetMode="Externa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Relationship Id="rId5" Type="http://schemas.openxmlformats.org/officeDocument/2006/relationships/slide" Target="../slides/slide6.xml"/><Relationship Id="rId4" Type="http://schemas.openxmlformats.org/officeDocument/2006/relationships/hyperlink" Target="http://www.rosatom.ru/" TargetMode="Externa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362CC80-4614-4465-9499-952509A309D0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0437729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6BD55C-2E74-401F-90A4-ED175D57688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779462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51ABF0-CF6E-467B-9E05-332E315BC95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321334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57348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49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rgbClr val="003274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rgbClr val="003274"/>
              </a:solidFill>
              <a:cs typeface="Arial" pitchFamily="34" charset="0"/>
            </a:endParaRPr>
          </a:p>
        </p:txBody>
      </p:sp>
      <p:sp>
        <p:nvSpPr>
          <p:cNvPr id="57350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7351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003274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7352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7353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7354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257986792"/>
      </p:ext>
    </p:extLst>
  </p:cSld>
  <p:clrMapOvr>
    <a:masterClrMapping/>
  </p:clrMapOvr>
  <p:transition>
    <p:split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F51983-B1DD-4465-9F43-61BEC60B3EE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876807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C4ECAE-0CB9-4BB8-A018-CE7E86C3980A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959133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CDD38C-0C72-427A-9D73-F468DFB3D3C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367437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5C47D0B-7345-4F55-BDDD-F301D4AE521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900893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286CF9-8135-4821-A4DF-CFC94B6148C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205537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D9AC34-9EB3-4579-90F2-CA408170DA1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431615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53EFCE-27D4-4774-9F56-0ED50BAD4AB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5525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D14C4EB-BC40-45F2-92CB-BB939E09959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6758218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A90E32-3A3D-409F-8E85-F29F0C69812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586937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770C9CF-C0E2-4730-9486-06CB7D8A38D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387070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3059BA2-5144-4F35-887C-9A694280F23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811943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59396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39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rgbClr val="003274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rgbClr val="003274"/>
              </a:solidFill>
              <a:cs typeface="Arial" pitchFamily="34" charset="0"/>
            </a:endParaRPr>
          </a:p>
        </p:txBody>
      </p:sp>
      <p:sp>
        <p:nvSpPr>
          <p:cNvPr id="59398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9399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9400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003274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9401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9402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37485286"/>
      </p:ext>
    </p:extLst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D7ABD2-B9D7-4998-A93B-AC501858492E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986664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CF889BB-BD49-4F39-8C81-004EB6CDD45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28880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3C6A32-B2ED-4876-A0AE-A9DBFEBD54CA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533422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E61997-8761-4257-AB32-70568A7B373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272579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F39242A-6D4C-462F-A622-4881D24ACD0E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158392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94DA9B-9427-4054-8D2A-CDE2337368D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95312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38AA6B6-2F5B-481C-B204-306F577A584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669570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69E2C2-18F2-4F58-B698-E1369305E62A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82119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B19F400-4CF4-44AD-8C77-2DA12FCABD8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720475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F73881-EA2A-4D0B-BFDE-A37E5216259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462072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6144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rgbClr val="003274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rgbClr val="003274"/>
              </a:solidFill>
              <a:cs typeface="Arial" pitchFamily="34" charset="0"/>
            </a:endParaRPr>
          </a:p>
        </p:txBody>
      </p:sp>
      <p:sp>
        <p:nvSpPr>
          <p:cNvPr id="61446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6144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1448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61449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003274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6145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21645020"/>
      </p:ext>
    </p:extLst>
  </p:cSld>
  <p:clrMapOvr>
    <a:masterClrMapping/>
  </p:clrMapOvr>
  <p:transition>
    <p:split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48832F-A6CD-4D75-94D3-E52D9C6A8F3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080780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B85FF1-F175-4A90-99DD-A152CC46D5C5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156474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1BD3DDD-742B-4DAA-BE8F-9D6AFA6F26FE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25686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EE2F71E-38EA-4656-98D5-FA5ABC028AA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960719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99AD742-314F-42BC-9F2B-351F2134E3B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55166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AE9EA0-27CF-4AD9-8E7C-DF42FBCF845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9187314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9E4510-DC31-4AE1-BCB0-23BD0FA24A2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100988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73E6B7-56C7-4570-953E-4D6BE0DBFED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207441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9F776D3-3CA3-4804-9AF8-5EA2A09A4FF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717533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61DE246-A9E5-4038-8A81-9985CE0E290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594132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88D456A-5A97-4B35-8150-30555D2D764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479938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5120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0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rgbClr val="003274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rgbClr val="003274"/>
              </a:solidFill>
              <a:cs typeface="Arial" pitchFamily="34" charset="0"/>
            </a:endParaRPr>
          </a:p>
        </p:txBody>
      </p:sp>
      <p:sp>
        <p:nvSpPr>
          <p:cNvPr id="51206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120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1208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1209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FFFFFF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12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rgbClr val="003274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30570635"/>
      </p:ext>
    </p:extLst>
  </p:cSld>
  <p:clrMapOvr>
    <a:masterClrMapping/>
  </p:clrMapOvr>
  <p:transition>
    <p:split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F736F2-B2A7-4E98-B47B-94D0C70E2B8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050947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83A02E-A572-4D7B-AEC1-949879B561B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808687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60AF523-3474-4343-8CB5-BCA03E87704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334010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347D8D-B4C5-4F6E-A1D8-AD59A7A04CD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88657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6B6AF8-2947-4E9F-87E9-FDBF6C51553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0582595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026F5F-01AA-4137-8E92-D4CB00377B3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93702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6F491D-92C4-40A8-A678-AE520DA5F06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567222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45399-3593-423B-A3E6-714D94A88AC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333645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36C4984-74F0-48D2-A311-6FFBEE53DD6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171853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D5CB41-7BAE-4EE7-82D3-DCBD38631495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725113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6F284C9-6B8C-4083-91AA-1752F62CE53A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19076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46523306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298448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5738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20057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3948C7-BC65-455D-AE5F-3A7D0558C6AC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7276912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272627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394494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886570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212811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350615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720546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46068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4982AF-63FE-4746-BA96-8EC8FBBC3F5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469011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81009023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BAB5B1-F331-417F-8982-368E52F20BE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156127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F7F58CE-7DB7-440A-AA48-0D63087351F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2027403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54401F-03FC-4602-A4E7-EEED928E561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297742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331741-B7DE-4C8C-85AE-693973FECD5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820884"/>
      </p:ext>
    </p:extLst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DBC873-3E71-4C8B-B1DC-564168351B1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794478"/>
      </p:ext>
    </p:extLst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948DE4-39C2-4B5A-B6CB-065BAE20ECF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924050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D7D5E-ECC4-4483-8E71-6A13A317FEC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604314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D54A5-0FF5-4F8F-AC9E-321A2C8BA18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584240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E9C2DB-23CB-41C1-B06A-E03A5A6A338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920490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64049C-4393-48AE-9881-F995FE6E64A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446769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B01846-D18C-4E57-BC67-185E7BB464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107356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66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57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284539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8667308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4AD600A-F3A5-41D3-AF90-70F4094221F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4951086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6B1FF1-CCDF-4618-AA96-E8A119FBE8B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222023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CA8CA9-93DE-4B7A-8A4C-829BC098C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088514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2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66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7BF891-1D59-4F4C-B61D-5E8F6EAE0D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657312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DD88FF-85F4-4C60-8572-CECE21825D8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136811"/>
      </p:ext>
    </p:extLst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134EE-8B42-487F-8351-0A0C29847FB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617580"/>
      </p:ext>
    </p:extLst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705403-2FC7-4808-862D-3C60E154C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726457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4790FE-918C-4DCC-84CA-0F200113AF5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711808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6837E-CF6D-4694-BB78-72211E95C02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50323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70D91B-E982-450F-9B69-5E33DCD91F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474811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0D5527-F64D-45B9-B43A-758573C3536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80044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4C7AFF2-A804-44ED-B0E2-5C8A185DB57A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3950123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259767" y="6448457"/>
            <a:ext cx="627062" cy="3778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4982AF-63FE-4746-BA96-8EC8FBBC3F5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273633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729" y="190502"/>
            <a:ext cx="9132277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864224" y="4676808"/>
            <a:ext cx="5292969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1589092399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92" y="1509714"/>
            <a:ext cx="8274051" cy="46132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2585071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5" y="163513"/>
            <a:ext cx="8274050" cy="831850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96" y="1509714"/>
            <a:ext cx="8274051" cy="46132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9607638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2" y="1509714"/>
            <a:ext cx="8274051" cy="46132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726336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04830118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5AA23F-7854-4AB3-919D-1BE909DBB98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35519647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EBFF1B-3F9A-46BE-BBFF-DC3D2475B3B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4348560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0275B2D-53A0-44D8-BD2D-4891F85D8C9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12462533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07DA30-BBA8-4830-A4BD-7205A0EC5A6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1120165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0975A08-8D99-4F36-AECA-6D6131D596D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7510107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5458E2-972F-4186-953C-2118EB727A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697023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27FCEDA-F7BE-4C85-8E1F-3309257758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07617104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2EF448E-3A14-4A76-857C-2DCA00BB8E1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87687948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21A4A4E-4F0C-49E6-A81B-FD29F08869B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34232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CF3BD48-18EE-4B4B-9F6A-9B13982E917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64672097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1784B1-7935-4993-B54D-7D2813E467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2137298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4FDD22-FABF-425B-B3A2-1456E6525CE0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4217626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B98742F-7106-4C7B-95D4-4345F6FDBDB5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87236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B24C81-2CF1-430A-919A-C139B4D3ED9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4329597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F55779-ADB1-422A-BF33-587F29717FE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305340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5120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0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itchFamily="34" charset="0"/>
            </a:endParaRPr>
          </a:p>
        </p:txBody>
      </p:sp>
      <p:sp>
        <p:nvSpPr>
          <p:cNvPr id="5120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120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1208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1209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12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hlink"/>
                </a:solidFill>
                <a:cs typeface="Arial" pitchFamily="34" charset="0"/>
              </a:rPr>
              <a:t>5</a:t>
            </a:r>
          </a:p>
        </p:txBody>
      </p: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F736F2-B2A7-4E98-B47B-94D0C70E2B8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685722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83A02E-A572-4D7B-AEC1-949879B561B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067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60AF523-3474-4343-8CB5-BCA03E87704C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5417627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347D8D-B4C5-4F6E-A1D8-AD59A7A04CD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6745720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026F5F-01AA-4137-8E92-D4CB00377B3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7211263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6F491D-92C4-40A8-A678-AE520DA5F06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109289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D417E5B-C0B2-4D02-BDB6-407AC3EA021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3310470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7645399-3593-423B-A3E6-714D94A88ACF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307841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36C4984-74F0-48D2-A311-6FFBEE53DD6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153762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DD5CB41-7BAE-4EE7-82D3-DCBD38631495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745556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6F284C9-6B8C-4083-91AA-1752F62CE53A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876308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pic>
        <p:nvPicPr>
          <p:cNvPr id="55300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30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itchFamily="34" charset="0"/>
            </a:endParaRPr>
          </a:p>
        </p:txBody>
      </p:sp>
      <p:sp>
        <p:nvSpPr>
          <p:cNvPr id="55302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hlink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5303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5304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5305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5306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FD2CA37-676C-4340-80BC-7544929D31BC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361109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0075AB-FE0C-43D4-A60A-F88CC2964C1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340895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65C6B15-C53A-4FD6-B009-9B48B9854A0E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277045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625D49E-345B-438D-AF11-CFD969C12AA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666685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34395-A973-4276-81D9-F4031B720ED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103523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C879209-D15F-497F-AE59-AE5F15D52C3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9933636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D3B64D-105C-4640-B61A-3BF1A6A2B82A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875105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568AFB-DE65-423C-9226-904BDA8F867C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02043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E282BD-8E46-4EDC-AB19-C11A708D1D8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4065507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97291CC-CA97-4B77-A51E-F9CD4FABE719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531129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74D594-3375-4CFD-ADC3-47589E687C4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7780107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2" y="1509714"/>
            <a:ext cx="8274051" cy="46132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59461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57348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49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itchFamily="34" charset="0"/>
            </a:endParaRPr>
          </a:p>
        </p:txBody>
      </p:sp>
      <p:sp>
        <p:nvSpPr>
          <p:cNvPr id="57350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7351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hlink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7352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7353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7354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</p:cSld>
  <p:clrMapOvr>
    <a:masterClrMapping/>
  </p:clrMapOvr>
  <p:transition>
    <p:split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F51983-B1DD-4465-9F43-61BEC60B3EE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543246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0C4ECAE-0CB9-4BB8-A018-CE7E86C3980A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2065698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0CDD38C-0C72-427A-9D73-F468DFB3D3C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10910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618BF4-733F-4ECD-AED5-39FFDEF1644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817267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5C47D0B-7345-4F55-BDDD-F301D4AE5210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683971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4286CF9-8135-4821-A4DF-CFC94B6148C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8020446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D9AC34-9EB3-4579-90F2-CA408170DA1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223544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53EFCE-27D4-4774-9F56-0ED50BAD4AB0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023029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0A90E32-3A3D-409F-8E85-F29F0C69812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704070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770C9CF-C0E2-4730-9486-06CB7D8A38D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379716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3059BA2-5144-4F35-887C-9A694280F23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2271953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59396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39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itchFamily="34" charset="0"/>
            </a:endParaRPr>
          </a:p>
        </p:txBody>
      </p:sp>
      <p:sp>
        <p:nvSpPr>
          <p:cNvPr id="59398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9399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9400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hlink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9401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9402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9D7ABD2-B9D7-4998-A93B-AC501858492E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3592315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CF889BB-BD49-4F39-8C81-004EB6CDD45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91506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21AB7BB-411E-4DAB-A9EB-D0363425178F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1543542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D3C6A32-B2ED-4876-A0AE-A9DBFEBD54CA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361273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CE61997-8761-4257-AB32-70568A7B373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7011976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F39242A-6D4C-462F-A622-4881D24ACD0E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0474267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94DA9B-9427-4054-8D2A-CDE2337368D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7990508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38AA6B6-2F5B-481C-B204-306F577A584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4304550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69E2C2-18F2-4F58-B698-E1369305E62A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4736180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B19F400-4CF4-44AD-8C77-2DA12FCABD8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935111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F73881-EA2A-4D0B-BFDE-A37E5216259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542989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82" y="1509714"/>
            <a:ext cx="8274051" cy="46132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2638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pic>
        <p:nvPicPr>
          <p:cNvPr id="6144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itchFamily="34" charset="0"/>
            </a:endParaRPr>
          </a:p>
        </p:txBody>
      </p:sp>
      <p:sp>
        <p:nvSpPr>
          <p:cNvPr id="6144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84993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6144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32525" y="1076325"/>
            <a:ext cx="360363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1448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615113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61449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997700" y="1076325"/>
            <a:ext cx="360363" cy="360363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8575" algn="ctr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hlink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6145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380288" y="1076325"/>
            <a:ext cx="360362" cy="36036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accent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</p:cSld>
  <p:clrMapOvr>
    <a:masterClrMapping/>
  </p:clrMapOvr>
  <p:transition>
    <p:split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F74B7E-7502-4D52-9268-CD8F09B2F0F3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3503720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C48832F-A6CD-4D75-94D3-E52D9C6A8F39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1940363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2B85FF1-F175-4A90-99DD-A152CC46D5C5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9169333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1BD3DDD-742B-4DAA-BE8F-9D6AFA6F26FE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4480784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EE2F71E-38EA-4656-98D5-FA5ABC028AA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9398795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99AD742-314F-42BC-9F2B-351F2134E3B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6709694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9E4510-DC31-4AE1-BCB0-23BD0FA24A2B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1424197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73E6B7-56C7-4570-953E-4D6BE0DBFED4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77999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9F776D3-3CA3-4804-9AF8-5EA2A09A4FF2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5940399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61DE246-A9E5-4038-8A81-9985CE0E290C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2574777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88D456A-5A97-4B35-8150-30555D2D7648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888100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080ED3-4E04-4FFE-B2F8-610BABFBF9ED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6634743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3980764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74FDD22-FABF-425B-B3A2-1456E6525CE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476298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D417E5B-C0B2-4D02-BDB6-407AC3EA021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41999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C879209-D15F-497F-AE59-AE5F15D52C3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830236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618BF4-733F-4ECD-AED5-39FFDEF1644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144112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21AB7BB-411E-4DAB-A9EB-D0363425178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002603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F74B7E-7502-4D52-9268-CD8F09B2F0F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810945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B080ED3-4E04-4FFE-B2F8-610BABFBF9E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752960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475E6C-3C2D-4025-A4CA-582DED51BCE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452200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362CC80-4614-4465-9499-952509A309D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398212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475E6C-3C2D-4025-A4CA-582DED51BCE1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4521724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D14C4EB-BC40-45F2-92CB-BB939E09959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728879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6935912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03283E-D59A-4EA2-8053-2D520E37253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145772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1447A-F4F0-418B-BD00-363C87CC324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317130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5CE7BD-F952-491F-8BEC-3DA50CFEC96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516062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DC91BD-522C-48B0-9C95-681BDF79D97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746635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965B0-FCCF-48DA-A335-60ECE96C78F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061445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FD128F-13DD-4F85-BC90-A005AF7BAB3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044969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E61BDB-8389-42A7-A284-75BD794D958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767408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4C309-541F-40B5-947F-8AAB770DA0C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9018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image" Target="../media/image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4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image" Target="../media/image1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slideLayout" Target="../slideLayouts/slideLayout181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71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75.xml"/><Relationship Id="rId12" Type="http://schemas.openxmlformats.org/officeDocument/2006/relationships/slideLayout" Target="../slideLayouts/slideLayout180.xml"/><Relationship Id="rId17" Type="http://schemas.openxmlformats.org/officeDocument/2006/relationships/theme" Target="../theme/theme16.xml"/><Relationship Id="rId2" Type="http://schemas.openxmlformats.org/officeDocument/2006/relationships/slideLayout" Target="../slideLayouts/slideLayout170.xml"/><Relationship Id="rId16" Type="http://schemas.openxmlformats.org/officeDocument/2006/relationships/slideLayout" Target="../slideLayouts/slideLayout184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78.xml"/><Relationship Id="rId19" Type="http://schemas.openxmlformats.org/officeDocument/2006/relationships/image" Target="../media/image15.png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slideLayout" Target="../slideLayouts/slideLayout18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image" Target="../media/image14.png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" Target="../slides/slide6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" Target="../slides/slide6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" Target="../slides/slide6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8.xml"/><Relationship Id="rId16" Type="http://schemas.openxmlformats.org/officeDocument/2006/relationships/slide" Target="../slides/slide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" Target="../slides/slide6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054ACED5-71AF-47A5-8407-B1E2C04B66D9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C2C310E8-A6C3-48A8-93D1-390166F87BF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63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56325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26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632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6328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6329" name="navigation7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6330" name="navigation6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6331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6332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6333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56334" name="Line 14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988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107BB75B-33F4-4403-90D9-02B69D238EBF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83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58373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374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8375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8376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8377" name="navigation7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8378" name="navigation6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8379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8380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8381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58382" name="Line 14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066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1F472451-C0E1-4A5F-93F8-D51B15A88E15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60421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422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60423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0424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60425" name="navigation7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60426" name="navigation6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60427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60428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60429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60430" name="Line 14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59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310ECA29-D719-4B31-90DF-F7598C8E509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50181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82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0183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0184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0185" name="navigation7"/>
          <p:cNvSpPr>
            <a:spLocks noChangeShapeType="1"/>
          </p:cNvSpPr>
          <p:nvPr userDrawn="1"/>
        </p:nvSpPr>
        <p:spPr bwMode="auto">
          <a:xfrm>
            <a:off x="700088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0186" name="navigation6"/>
          <p:cNvSpPr>
            <a:spLocks noChangeShapeType="1"/>
          </p:cNvSpPr>
          <p:nvPr userDrawn="1"/>
        </p:nvSpPr>
        <p:spPr bwMode="auto">
          <a:xfrm>
            <a:off x="982663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0187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414142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50188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5238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50189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50190" name="Line 14"/>
          <p:cNvSpPr>
            <a:spLocks noChangeShapeType="1"/>
          </p:cNvSpPr>
          <p:nvPr userDrawn="1"/>
        </p:nvSpPr>
        <p:spPr bwMode="auto">
          <a:xfrm>
            <a:off x="1547813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85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D272EA8-4B81-4A31-A7C3-D00B044141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717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</p:sldLayoutIdLst>
  <p:transition/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B28DA66-6DF8-4E35-AE05-D05C67DC483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3861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57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D272EA8-4B81-4A31-A7C3-D00B044141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1161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  <p:sldLayoutId id="2147483954" r:id="rId15"/>
    <p:sldLayoutId id="2147483955" r:id="rId16"/>
  </p:sldLayoutIdLst>
  <p:transition/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1" fontAlgn="base" hangingPunct="1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fld id="{D4FDF1C6-2572-4709-9236-E3F02441EB34}" type="slidenum">
              <a:rPr lang="ru-RU" altLang="ru-RU"/>
              <a:pPr/>
              <a:t>‹#›</a:t>
            </a:fld>
            <a:endParaRPr lang="ru-RU" altLang="ru-RU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2869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94792" y="498948"/>
            <a:ext cx="854709" cy="441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547954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42">
          <p15:clr>
            <a:srgbClr val="F26B43"/>
          </p15:clr>
        </p15:guide>
        <p15:guide id="2" pos="55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3FCF08BC-7CBF-4E7F-9C3B-400BF355BDE6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310ECA29-D719-4B31-90DF-F7598C8E5092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50181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182" name="navigation1">
            <a:hlinkClick r:id="rId15" action="ppaction://hlinksldjump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1</a:t>
            </a:r>
          </a:p>
        </p:txBody>
      </p:sp>
      <p:sp>
        <p:nvSpPr>
          <p:cNvPr id="50183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2</a:t>
            </a:r>
          </a:p>
        </p:txBody>
      </p:sp>
      <p:sp>
        <p:nvSpPr>
          <p:cNvPr id="50184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3</a:t>
            </a:r>
          </a:p>
        </p:txBody>
      </p:sp>
      <p:sp>
        <p:nvSpPr>
          <p:cNvPr id="50185" name="navigation7"/>
          <p:cNvSpPr>
            <a:spLocks noChangeShapeType="1"/>
          </p:cNvSpPr>
          <p:nvPr userDrawn="1"/>
        </p:nvSpPr>
        <p:spPr bwMode="auto">
          <a:xfrm>
            <a:off x="700088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0186" name="navigation6"/>
          <p:cNvSpPr>
            <a:spLocks noChangeShapeType="1"/>
          </p:cNvSpPr>
          <p:nvPr userDrawn="1"/>
        </p:nvSpPr>
        <p:spPr bwMode="auto">
          <a:xfrm>
            <a:off x="982663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0187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4</a:t>
            </a:r>
          </a:p>
        </p:txBody>
      </p:sp>
      <p:sp>
        <p:nvSpPr>
          <p:cNvPr id="50188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5238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0189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50190" name="Line 14"/>
          <p:cNvSpPr>
            <a:spLocks noChangeShapeType="1"/>
          </p:cNvSpPr>
          <p:nvPr userDrawn="1"/>
        </p:nvSpPr>
        <p:spPr bwMode="auto">
          <a:xfrm>
            <a:off x="1547813" y="6469063"/>
            <a:ext cx="0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navigation1">
            <a:hlinkClick r:id="rId15" action="ppaction://hlinksldjump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ACC44E65-A11D-4CD7-A891-37F886F8EF48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4278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2</a:t>
            </a:r>
          </a:p>
        </p:txBody>
      </p:sp>
      <p:sp>
        <p:nvSpPr>
          <p:cNvPr id="54279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3</a:t>
            </a:r>
          </a:p>
        </p:txBody>
      </p:sp>
      <p:sp>
        <p:nvSpPr>
          <p:cNvPr id="54280" name="navigation8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4281" name="navigation7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4282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4</a:t>
            </a:r>
          </a:p>
        </p:txBody>
      </p:sp>
      <p:sp>
        <p:nvSpPr>
          <p:cNvPr id="54283" name="navigation6"/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4284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5</a:t>
            </a:r>
          </a:p>
        </p:txBody>
      </p:sp>
      <p:sp>
        <p:nvSpPr>
          <p:cNvPr id="54285" name="Line 13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54286" name="Picture 14" descr="ujkm,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53" r:id="rId12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C2C310E8-A6C3-48A8-93D1-390166F87BF2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63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56325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26" name="navigation1">
            <a:hlinkClick r:id="rId15" action="ppaction://hlinksldjump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1</a:t>
            </a:r>
          </a:p>
        </p:txBody>
      </p:sp>
      <p:sp>
        <p:nvSpPr>
          <p:cNvPr id="5632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56328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3</a:t>
            </a:r>
          </a:p>
        </p:txBody>
      </p:sp>
      <p:sp>
        <p:nvSpPr>
          <p:cNvPr id="56329" name="navigation7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6330" name="navigation6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6331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4</a:t>
            </a:r>
          </a:p>
        </p:txBody>
      </p:sp>
      <p:sp>
        <p:nvSpPr>
          <p:cNvPr id="56332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6333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5</a:t>
            </a:r>
          </a:p>
        </p:txBody>
      </p:sp>
      <p:sp>
        <p:nvSpPr>
          <p:cNvPr id="56334" name="Line 14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107BB75B-33F4-4403-90D9-02B69D238EBF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5837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58373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374" name="navigation1">
            <a:hlinkClick r:id="rId16" action="ppaction://hlinksldjump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1</a:t>
            </a:r>
          </a:p>
        </p:txBody>
      </p:sp>
      <p:sp>
        <p:nvSpPr>
          <p:cNvPr id="58375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2</a:t>
            </a:r>
          </a:p>
        </p:txBody>
      </p:sp>
      <p:sp>
        <p:nvSpPr>
          <p:cNvPr id="58376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58377" name="navigation7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8378" name="navigation6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8379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4</a:t>
            </a:r>
          </a:p>
        </p:txBody>
      </p:sp>
      <p:sp>
        <p:nvSpPr>
          <p:cNvPr id="58380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58381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5</a:t>
            </a:r>
          </a:p>
        </p:txBody>
      </p:sp>
      <p:sp>
        <p:nvSpPr>
          <p:cNvPr id="58382" name="Line 14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54" r:id="rId12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Arial" pitchFamily="34" charset="0"/>
              </a:defRPr>
            </a:lvl1pPr>
          </a:lstStyle>
          <a:p>
            <a:fld id="{1F472451-C0E1-4A5F-93F8-D51B15A88E15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60421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422" name="navigation1">
            <a:hlinkClick r:id="rId15" action="ppaction://hlinksldjump"/>
          </p:cNvPr>
          <p:cNvSpPr>
            <a:spLocks noChangeArrowheads="1"/>
          </p:cNvSpPr>
          <p:nvPr userDrawn="1"/>
        </p:nvSpPr>
        <p:spPr bwMode="auto">
          <a:xfrm>
            <a:off x="4683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1</a:t>
            </a:r>
          </a:p>
        </p:txBody>
      </p:sp>
      <p:sp>
        <p:nvSpPr>
          <p:cNvPr id="60423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50888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2</a:t>
            </a:r>
          </a:p>
        </p:txBody>
      </p:sp>
      <p:sp>
        <p:nvSpPr>
          <p:cNvPr id="60424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03346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3</a:t>
            </a:r>
          </a:p>
        </p:txBody>
      </p:sp>
      <p:sp>
        <p:nvSpPr>
          <p:cNvPr id="60425" name="navigation7"/>
          <p:cNvSpPr>
            <a:spLocks noChangeShapeType="1"/>
          </p:cNvSpPr>
          <p:nvPr userDrawn="1"/>
        </p:nvSpPr>
        <p:spPr bwMode="auto">
          <a:xfrm>
            <a:off x="69850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60426" name="navigation6"/>
          <p:cNvSpPr>
            <a:spLocks noChangeShapeType="1"/>
          </p:cNvSpPr>
          <p:nvPr userDrawn="1"/>
        </p:nvSpPr>
        <p:spPr bwMode="auto">
          <a:xfrm>
            <a:off x="98107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60427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316038" y="6469063"/>
            <a:ext cx="179387" cy="179387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60428" name="navigation5">
            <a:hlinkClick r:id="" action="ppaction://noaction"/>
          </p:cNvPr>
          <p:cNvSpPr>
            <a:spLocks noChangeShapeType="1"/>
          </p:cNvSpPr>
          <p:nvPr userDrawn="1"/>
        </p:nvSpPr>
        <p:spPr bwMode="auto">
          <a:xfrm>
            <a:off x="1263650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60429" name="Rectangle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1598613" y="6469063"/>
            <a:ext cx="179387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1DCF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ru-RU" sz="1200" b="1" dirty="0">
                <a:cs typeface="Arial" pitchFamily="34" charset="0"/>
              </a:rPr>
              <a:t>5</a:t>
            </a:r>
          </a:p>
        </p:txBody>
      </p:sp>
      <p:sp>
        <p:nvSpPr>
          <p:cNvPr id="60430" name="Line 14"/>
          <p:cNvSpPr>
            <a:spLocks noChangeShapeType="1"/>
          </p:cNvSpPr>
          <p:nvPr userDrawn="1"/>
        </p:nvSpPr>
        <p:spPr bwMode="auto">
          <a:xfrm>
            <a:off x="1546225" y="6469063"/>
            <a:ext cx="1588" cy="179387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054ACED5-71AF-47A5-8407-B1E2C04B66D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98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transition/>
  <p:hf hd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  <a:cs typeface="Arial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BBDA079-9CB8-4C50-B726-743C49B7C0E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2877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4.png"/><Relationship Id="rId7" Type="http://schemas.openxmlformats.org/officeDocument/2006/relationships/image" Target="../media/image3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10" Type="http://schemas.openxmlformats.org/officeDocument/2006/relationships/image" Target="../media/image20.png"/><Relationship Id="rId4" Type="http://schemas.openxmlformats.org/officeDocument/2006/relationships/image" Target="../media/image27.jpg"/><Relationship Id="rId9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668308" y="3585533"/>
            <a:ext cx="7534376" cy="747133"/>
          </a:xfrm>
          <a:prstGeom prst="rect">
            <a:avLst/>
          </a:prstGeom>
        </p:spPr>
        <p:txBody>
          <a:bodyPr vert="horz" lIns="74563" tIns="37282" rIns="74563" bIns="37282" rtlCol="0" anchor="ctr">
            <a:noAutofit/>
          </a:bodyPr>
          <a:lstStyle/>
          <a:p>
            <a:pPr>
              <a:lnSpc>
                <a:spcPts val="2835"/>
              </a:lnSpc>
            </a:pPr>
            <a:r>
              <a:rPr lang="ru-RU" sz="2100" b="1" dirty="0">
                <a:solidFill>
                  <a:srgbClr val="333333"/>
                </a:solidFill>
                <a:ea typeface="Rosatom Light" pitchFamily="34" charset="-52"/>
                <a:cs typeface="Arial" pitchFamily="34" charset="0"/>
              </a:rPr>
              <a:t>Мобильная образовательная платформ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68308" y="3368165"/>
            <a:ext cx="4534126" cy="4514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2835"/>
              </a:lnSpc>
            </a:pPr>
            <a:r>
              <a:rPr lang="ru-RU" sz="4500" b="1" dirty="0">
                <a:solidFill>
                  <a:srgbClr val="333333"/>
                </a:solidFill>
                <a:ea typeface="Rosatom Light" pitchFamily="34" charset="-52"/>
                <a:cs typeface="Arial" pitchFamily="34" charset="0"/>
              </a:rPr>
              <a:t>РЕКОРД </a:t>
            </a:r>
            <a:r>
              <a:rPr lang="en-US" sz="4500" b="1" dirty="0">
                <a:solidFill>
                  <a:schemeClr val="bg2">
                    <a:lumMod val="50000"/>
                  </a:schemeClr>
                </a:solidFill>
                <a:ea typeface="Rosatom Light" pitchFamily="34" charset="-52"/>
                <a:cs typeface="Arial" pitchFamily="34" charset="0"/>
              </a:rPr>
              <a:t>mobile</a:t>
            </a:r>
            <a:endParaRPr lang="ru-RU" sz="4500" b="1" dirty="0">
              <a:solidFill>
                <a:srgbClr val="333333"/>
              </a:solidFill>
              <a:ea typeface="Rosatom Light" pitchFamily="34" charset="-52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45" y="857251"/>
            <a:ext cx="1438655" cy="144344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620688"/>
            <a:ext cx="807783" cy="593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7277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Заголовок 1"/>
          <p:cNvSpPr>
            <a:spLocks noGrp="1"/>
          </p:cNvSpPr>
          <p:nvPr>
            <p:ph type="title"/>
          </p:nvPr>
        </p:nvSpPr>
        <p:spPr>
          <a:xfrm>
            <a:off x="1315182" y="9178"/>
            <a:ext cx="4316476" cy="962025"/>
          </a:xfrm>
        </p:spPr>
        <p:txBody>
          <a:bodyPr/>
          <a:lstStyle/>
          <a:p>
            <a:r>
              <a:rPr lang="ru-RU" altLang="ru-RU" dirty="0" smtClean="0">
                <a:solidFill>
                  <a:schemeClr val="tx1"/>
                </a:solidFill>
              </a:rPr>
              <a:t>ПРОДУКТОВАЯ КОМАНДА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1024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4118581-03FC-4034-BC74-50C064181CAE}" type="slidenum">
              <a:rPr lang="ru-RU" altLang="ru-RU" smtClean="0">
                <a:solidFill>
                  <a:schemeClr val="hlink"/>
                </a:solidFill>
              </a:rPr>
              <a:pPr/>
              <a:t>10</a:t>
            </a:fld>
            <a:endParaRPr lang="ru-RU" altLang="ru-RU">
              <a:solidFill>
                <a:schemeClr val="hlink"/>
              </a:solidFill>
            </a:endParaRPr>
          </a:p>
        </p:txBody>
      </p:sp>
      <p:sp>
        <p:nvSpPr>
          <p:cNvPr id="11" name="Google Shape;175;p23"/>
          <p:cNvSpPr txBox="1">
            <a:spLocks/>
          </p:cNvSpPr>
          <p:nvPr/>
        </p:nvSpPr>
        <p:spPr bwMode="auto">
          <a:xfrm>
            <a:off x="-82223" y="3638982"/>
            <a:ext cx="2522120" cy="930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vert="horz" wrap="square" lIns="91425" tIns="91425" rIns="91425" bIns="91425" numCol="1" rtl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fontAlgn="base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0159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ru-RU" sz="1800" b="1" dirty="0">
                <a:latin typeface="Arial" pitchFamily="34" charset="0"/>
              </a:rPr>
              <a:t>Евгения Гребёнкина</a:t>
            </a: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ru-RU" sz="1800" b="1" dirty="0">
                <a:solidFill>
                  <a:srgbClr val="F8820C"/>
                </a:solidFill>
                <a:latin typeface="Arial" pitchFamily="34" charset="0"/>
              </a:rPr>
              <a:t>владелец продукта</a:t>
            </a: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ru-RU" sz="1800" dirty="0" err="1">
                <a:latin typeface="Arial" pitchFamily="34" charset="0"/>
              </a:rPr>
              <a:t>Госкорпорация</a:t>
            </a:r>
            <a:r>
              <a:rPr lang="ru-RU" sz="1800" dirty="0">
                <a:latin typeface="Arial" pitchFamily="34" charset="0"/>
              </a:rPr>
              <a:t>, </a:t>
            </a:r>
            <a:r>
              <a:rPr lang="ru-RU" sz="1800" dirty="0" smtClean="0">
                <a:latin typeface="Arial" pitchFamily="34" charset="0"/>
              </a:rPr>
              <a:t>Департамент кадровой политики</a:t>
            </a:r>
            <a:endParaRPr lang="ru-RU" sz="1800" dirty="0">
              <a:latin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4" t="14792" r="764" b="10208"/>
          <a:stretch/>
        </p:blipFill>
        <p:spPr>
          <a:xfrm>
            <a:off x="399270" y="1493429"/>
            <a:ext cx="1683734" cy="1683734"/>
          </a:xfrm>
          <a:prstGeom prst="ellipse">
            <a:avLst/>
          </a:prstGeom>
        </p:spPr>
      </p:pic>
      <p:sp>
        <p:nvSpPr>
          <p:cNvPr id="13" name="Google Shape;175;p23"/>
          <p:cNvSpPr txBox="1">
            <a:spLocks/>
          </p:cNvSpPr>
          <p:nvPr/>
        </p:nvSpPr>
        <p:spPr>
          <a:xfrm>
            <a:off x="3269511" y="2408102"/>
            <a:ext cx="2338006" cy="76906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609585" lvl="0" indent="-474121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170" lvl="1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54" lvl="2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339" lvl="3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7924" lvl="4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509" lvl="5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Татьяна Подгородская</a:t>
            </a: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F8820C"/>
                </a:solidFill>
                <a:latin typeface="Arial" pitchFamily="34" charset="0"/>
              </a:rPr>
              <a:t>лидер </a:t>
            </a:r>
            <a:r>
              <a:rPr lang="en-US" sz="1400" b="1" dirty="0">
                <a:solidFill>
                  <a:srgbClr val="F8820C"/>
                </a:solidFill>
                <a:latin typeface="Arial" pitchFamily="34" charset="0"/>
              </a:rPr>
              <a:t>IT-</a:t>
            </a:r>
            <a:r>
              <a:rPr lang="ru-RU" sz="1400" b="1" dirty="0">
                <a:solidFill>
                  <a:srgbClr val="F8820C"/>
                </a:solidFill>
                <a:latin typeface="Arial" pitchFamily="34" charset="0"/>
              </a:rPr>
              <a:t>поддержки</a:t>
            </a:r>
            <a:endParaRPr lang="en-US" sz="1400" b="1" dirty="0">
              <a:solidFill>
                <a:srgbClr val="F8820C"/>
              </a:solidFill>
              <a:latin typeface="Arial" pitchFamily="34" charset="0"/>
            </a:endParaRP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О 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Гринатом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/>
          <a:srcRect l="9262" t="197" r="10016" b="19681"/>
          <a:stretch/>
        </p:blipFill>
        <p:spPr>
          <a:xfrm>
            <a:off x="4070641" y="1419869"/>
            <a:ext cx="843439" cy="840471"/>
          </a:xfrm>
          <a:prstGeom prst="ellipse">
            <a:avLst/>
          </a:prstGeom>
        </p:spPr>
      </p:pic>
      <p:sp>
        <p:nvSpPr>
          <p:cNvPr id="21" name="Google Shape;175;p23"/>
          <p:cNvSpPr txBox="1">
            <a:spLocks/>
          </p:cNvSpPr>
          <p:nvPr/>
        </p:nvSpPr>
        <p:spPr>
          <a:xfrm>
            <a:off x="5613191" y="2431223"/>
            <a:ext cx="2330603" cy="76906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609585" lvl="0" indent="-474121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170" lvl="1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54" lvl="2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339" lvl="3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7924" lvl="4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509" lvl="5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Никита Хотемской</a:t>
            </a: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F8820C"/>
                </a:solidFill>
                <a:latin typeface="Arial" pitchFamily="34" charset="0"/>
              </a:rPr>
              <a:t>контент-менеджер</a:t>
            </a: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О «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Гринатом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6"/>
          <a:srcRect l="8861" t="2436" r="12231" b="24187"/>
          <a:stretch/>
        </p:blipFill>
        <p:spPr>
          <a:xfrm>
            <a:off x="6300192" y="1423340"/>
            <a:ext cx="837476" cy="837000"/>
          </a:xfrm>
          <a:prstGeom prst="ellipse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86" b="26928"/>
          <a:stretch/>
        </p:blipFill>
        <p:spPr>
          <a:xfrm>
            <a:off x="2935935" y="4143729"/>
            <a:ext cx="837000" cy="837000"/>
          </a:xfrm>
          <a:prstGeom prst="ellipse">
            <a:avLst/>
          </a:prstGeom>
          <a:ln>
            <a:noFill/>
          </a:ln>
          <a:effectLst/>
        </p:spPr>
      </p:pic>
      <p:sp>
        <p:nvSpPr>
          <p:cNvPr id="25" name="Google Shape;175;p23"/>
          <p:cNvSpPr txBox="1">
            <a:spLocks/>
          </p:cNvSpPr>
          <p:nvPr/>
        </p:nvSpPr>
        <p:spPr>
          <a:xfrm>
            <a:off x="2018440" y="5152481"/>
            <a:ext cx="2671990" cy="76906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609585" lvl="0" indent="-474121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170" lvl="1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54" lvl="2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339" lvl="3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7924" lvl="4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509" lvl="5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ветлана Козлова</a:t>
            </a: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b="1" dirty="0">
                <a:solidFill>
                  <a:srgbClr val="F8820C"/>
                </a:solidFill>
                <a:latin typeface="Arial" pitchFamily="34" charset="0"/>
              </a:rPr>
              <a:t>e-learning </a:t>
            </a:r>
            <a:r>
              <a:rPr lang="ru-RU" sz="1400" b="1" dirty="0">
                <a:solidFill>
                  <a:srgbClr val="F8820C"/>
                </a:solidFill>
                <a:latin typeface="Arial" pitchFamily="34" charset="0"/>
              </a:rPr>
              <a:t>эксперт</a:t>
            </a:r>
            <a:endParaRPr lang="en-US" sz="1400" b="1" dirty="0">
              <a:solidFill>
                <a:srgbClr val="F8820C"/>
              </a:solidFill>
              <a:latin typeface="Arial" pitchFamily="34" charset="0"/>
            </a:endParaRP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рпоративная Академия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58" t="5496" r="14701" b="40326"/>
          <a:stretch/>
        </p:blipFill>
        <p:spPr>
          <a:xfrm>
            <a:off x="5242840" y="3451196"/>
            <a:ext cx="837047" cy="837000"/>
          </a:xfrm>
          <a:prstGeom prst="ellipse">
            <a:avLst/>
          </a:prstGeom>
          <a:ln>
            <a:noFill/>
          </a:ln>
          <a:effectLst/>
        </p:spPr>
      </p:pic>
      <p:sp>
        <p:nvSpPr>
          <p:cNvPr id="27" name="Google Shape;175;p23"/>
          <p:cNvSpPr txBox="1">
            <a:spLocks/>
          </p:cNvSpPr>
          <p:nvPr/>
        </p:nvSpPr>
        <p:spPr>
          <a:xfrm>
            <a:off x="4330183" y="4388581"/>
            <a:ext cx="2555776" cy="76906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609585" lvl="0" indent="-474121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170" lvl="1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54" lvl="2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339" lvl="3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7924" lvl="4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509" lvl="5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митрий Сучков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solidFill>
                  <a:srgbClr val="F8820C"/>
                </a:solidFill>
                <a:latin typeface="Arial" pitchFamily="34" charset="0"/>
              </a:rPr>
              <a:t>эксперт в техническом обучении</a:t>
            </a:r>
            <a:endParaRPr lang="en-US" sz="1400" b="1" dirty="0">
              <a:solidFill>
                <a:srgbClr val="F8820C"/>
              </a:solidFill>
              <a:latin typeface="Arial" pitchFamily="34" charset="0"/>
            </a:endParaRP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ехническая Академия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4" t="-491" r="6590" b="35529"/>
          <a:stretch/>
        </p:blipFill>
        <p:spPr>
          <a:xfrm>
            <a:off x="7553508" y="4149091"/>
            <a:ext cx="840471" cy="840471"/>
          </a:xfrm>
          <a:prstGeom prst="ellipse">
            <a:avLst/>
          </a:prstGeom>
          <a:ln>
            <a:noFill/>
          </a:ln>
          <a:effectLst/>
        </p:spPr>
      </p:pic>
      <p:sp>
        <p:nvSpPr>
          <p:cNvPr id="29" name="Google Shape;175;p23"/>
          <p:cNvSpPr txBox="1">
            <a:spLocks/>
          </p:cNvSpPr>
          <p:nvPr/>
        </p:nvSpPr>
        <p:spPr>
          <a:xfrm>
            <a:off x="6572530" y="5152481"/>
            <a:ext cx="2448272" cy="76906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lvl1pPr marL="609585" lvl="0" indent="-474121" algn="l" defTabSz="914400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19170" lvl="1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754" lvl="2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438339" lvl="3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047924" lvl="4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57509" lvl="5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●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○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74121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Font typeface="Arial" panose="020B0604020202020204" pitchFamily="34" charset="0"/>
              <a:buChar char="■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Антон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авлов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b="1" dirty="0">
                <a:solidFill>
                  <a:srgbClr val="F8820C"/>
                </a:solidFill>
                <a:latin typeface="Arial" pitchFamily="34" charset="0"/>
              </a:rPr>
              <a:t>e-learning </a:t>
            </a:r>
            <a:r>
              <a:rPr lang="ru-RU" sz="1400" b="1" dirty="0">
                <a:solidFill>
                  <a:srgbClr val="F8820C"/>
                </a:solidFill>
                <a:latin typeface="Arial" pitchFamily="34" charset="0"/>
              </a:rPr>
              <a:t>эксперт</a:t>
            </a:r>
            <a:endParaRPr lang="en-US" sz="1400" b="1" dirty="0">
              <a:solidFill>
                <a:srgbClr val="F8820C"/>
              </a:solidFill>
              <a:latin typeface="Arial" pitchFamily="34" charset="0"/>
            </a:endParaRPr>
          </a:p>
          <a:p>
            <a:pPr marL="101598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рпоративная Академия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149" y="193337"/>
            <a:ext cx="807783" cy="593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39922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431751"/>
            <a:ext cx="5542440" cy="342624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0027C4-603D-4671-917C-F7F3C15BF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18703"/>
            <a:ext cx="7848872" cy="9620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КАКИЕ ПРОБЛЕМЫ МЫ РЕШАЛИ В 2018-2019 ГОДАХ?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FD9D44-818F-41C0-97C8-041E4B0CF8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9C0C3B-C0BA-40F0-9D9D-4E7ECA6E5A7D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927785"/>
              </p:ext>
            </p:extLst>
          </p:nvPr>
        </p:nvGraphicFramePr>
        <p:xfrm>
          <a:off x="2339752" y="1206711"/>
          <a:ext cx="6547073" cy="445008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6547073">
                  <a:extLst>
                    <a:ext uri="{9D8B030D-6E8A-4147-A177-3AD203B41FA5}">
                      <a16:colId xmlns:a16="http://schemas.microsoft.com/office/drawing/2014/main" val="1562854725"/>
                    </a:ext>
                  </a:extLst>
                </a:gridCol>
              </a:tblGrid>
              <a:tr h="4392488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Низкий охват обучением</a:t>
                      </a:r>
                    </a:p>
                    <a:p>
                      <a:pPr marL="0" indent="0">
                        <a:buNone/>
                      </a:pPr>
                      <a:endParaRPr lang="ru-RU" sz="600" kern="1200" dirty="0" smtClean="0">
                        <a:solidFill>
                          <a:srgbClr val="F8820C"/>
                        </a:solidFill>
                        <a:latin typeface="Arial Black" panose="020B0A04020102020204" pitchFamily="34" charset="0"/>
                        <a:ea typeface="+mn-ea"/>
                        <a:cs typeface="+mn-cs"/>
                      </a:endParaRPr>
                    </a:p>
                    <a:p>
                      <a:pPr marL="0" indent="0">
                        <a:buNone/>
                      </a:pPr>
                      <a:r>
                        <a:rPr lang="ru-RU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Росатом: 47 % (2018)</a:t>
                      </a:r>
                    </a:p>
                    <a:p>
                      <a:pPr marL="0" indent="0">
                        <a:buNone/>
                      </a:pPr>
                      <a:r>
                        <a:rPr lang="ru-RU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Бенчмарки: 70-80 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u="none" baseline="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" b="0" u="none" baseline="0" dirty="0" smtClean="0">
                        <a:solidFill>
                          <a:schemeClr val="tx2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Потребности работников в обучении не полностью реализованы, нехватка ресурсов</a:t>
                      </a:r>
                    </a:p>
                    <a:p>
                      <a:pPr marL="0" indent="0">
                        <a:buNone/>
                      </a:pPr>
                      <a:endParaRPr lang="ru-RU" sz="6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% 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e-learning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Росатом: 2 % (2018)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% 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e-learning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бенчмарки: 30-80 %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Росатом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: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 &lt; 50 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доступных электронных курсов (2018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Бенчмарки: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&gt; 200 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доступных электронных курсов</a:t>
                      </a:r>
                    </a:p>
                    <a:p>
                      <a:endParaRPr lang="ru-RU" sz="14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endParaRPr lang="ru-RU" sz="14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endParaRPr lang="ru-RU" sz="2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pPr marL="0" indent="0" algn="l" defTabSz="914400" rtl="0" eaLnBrk="1" latinLnBrk="0" hangingPunct="1">
                        <a:buNone/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Высокие временные и финансовые затраты на обучение</a:t>
                      </a:r>
                    </a:p>
                    <a:p>
                      <a:endParaRPr lang="ru-RU" sz="6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+mn-cs"/>
                      </a:endParaRPr>
                    </a:p>
                    <a:p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&gt; 2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0 </a:t>
                      </a:r>
                      <a:r>
                        <a:rPr lang="ru-RU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+mn-cs"/>
                        </a:rPr>
                        <a:t>млн руб. / год на командировки для обучения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3214603"/>
                  </a:ext>
                </a:extLst>
              </a:tr>
            </a:tbl>
          </a:graphicData>
        </a:graphic>
      </p:graphicFrame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641" y="1271671"/>
            <a:ext cx="314708" cy="35865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782" y="4965547"/>
            <a:ext cx="314708" cy="35865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8042" y="2565435"/>
            <a:ext cx="314708" cy="35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3535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14449" y="3431751"/>
            <a:ext cx="5529551" cy="342624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0027C4-603D-4671-917C-F7F3C15BF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18703"/>
            <a:ext cx="7848872" cy="9620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НАШИ ЦЕЛИ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3FD9D44-818F-41C0-97C8-041E4B0CF8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9C0C3B-C0BA-40F0-9D9D-4E7ECA6E5A7D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27584" y="1412776"/>
            <a:ext cx="7848872" cy="48576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Arial" pitchFamily="34" charset="0"/>
              </a:rPr>
              <a:t>Цели 2020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Увеличить объем обуч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800" dirty="0">
              <a:solidFill>
                <a:schemeClr val="tx1"/>
              </a:solidFill>
              <a:latin typeface="Arial" pitchFamily="34" charset="0"/>
            </a:endParaRPr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Увеличить охват сотрудников обучение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800" dirty="0">
              <a:solidFill>
                <a:schemeClr val="tx1"/>
              </a:solidFill>
              <a:latin typeface="Arial" pitchFamily="34" charset="0"/>
            </a:endParaRPr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Сократить затраты на обучение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за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счет перевода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очных обучающих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программ в дистанционные и электронные формат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/>
              </a:solidFill>
              <a:latin typeface="Arial" pitchFamily="34" charset="0"/>
            </a:endParaRPr>
          </a:p>
          <a:p>
            <a:endParaRPr lang="ru-RU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/>
          </a:p>
          <a:p>
            <a:r>
              <a:rPr lang="ru-RU" sz="1600" b="1" dirty="0">
                <a:solidFill>
                  <a:schemeClr val="tx1"/>
                </a:solidFill>
                <a:latin typeface="Arial" pitchFamily="34" charset="0"/>
              </a:rPr>
              <a:t>Цели 2021:</a:t>
            </a:r>
          </a:p>
          <a:p>
            <a:endParaRPr lang="ru-RU" sz="1200" dirty="0"/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Увеличить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активность пользователей</a:t>
            </a:r>
          </a:p>
          <a:p>
            <a:endParaRPr lang="ru-RU" sz="800" dirty="0">
              <a:solidFill>
                <a:schemeClr val="tx1"/>
              </a:solidFill>
              <a:latin typeface="Arial" pitchFamily="34" charset="0"/>
            </a:endParaRPr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Повысить удовлетворённость сотрудников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мобильной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образовательной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платформой</a:t>
            </a:r>
          </a:p>
          <a:p>
            <a:endParaRPr lang="ru-RU" sz="800" dirty="0">
              <a:solidFill>
                <a:schemeClr val="tx1"/>
              </a:solidFill>
              <a:latin typeface="Arial" pitchFamily="34" charset="0"/>
            </a:endParaRPr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Создать парадигму непрерывного развития. Выработать у руководителей и сотрудников новую модель запросов на </a:t>
            </a:r>
            <a:endParaRPr lang="ru-RU" dirty="0">
              <a:solidFill>
                <a:schemeClr val="tx1"/>
              </a:solidFill>
              <a:latin typeface="Arial" pitchFamily="34" charset="0"/>
            </a:endParaRPr>
          </a:p>
          <a:p>
            <a:r>
              <a:rPr lang="ru-RU" dirty="0">
                <a:solidFill>
                  <a:schemeClr val="tx1"/>
                </a:solidFill>
                <a:latin typeface="Arial" pitchFamily="34" charset="0"/>
              </a:rPr>
              <a:t>обучение</a:t>
            </a:r>
            <a:endParaRPr lang="ru-RU" dirty="0">
              <a:solidFill>
                <a:schemeClr val="tx1"/>
              </a:solidFill>
              <a:latin typeface="Arial" pitchFamily="34" charset="0"/>
            </a:endParaRPr>
          </a:p>
          <a:p>
            <a:endParaRPr lang="ru-RU" sz="1400" dirty="0">
              <a:solidFill>
                <a:schemeClr val="tx1"/>
              </a:solidFill>
              <a:latin typeface="Arial" pitchFamily="34" charset="0"/>
            </a:endParaRPr>
          </a:p>
          <a:p>
            <a:endParaRPr lang="ru-RU" sz="1200" dirty="0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53" y="1562253"/>
            <a:ext cx="314708" cy="358656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53" y="5445224"/>
            <a:ext cx="314708" cy="358656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53" y="4670386"/>
            <a:ext cx="314708" cy="358656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53" y="4155935"/>
            <a:ext cx="314708" cy="358656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15" y="2582488"/>
            <a:ext cx="314708" cy="35865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53" y="2017291"/>
            <a:ext cx="314708" cy="35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5999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832" y="23174"/>
            <a:ext cx="8208143" cy="962025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НАПРАВЛЕНИЯ </a:t>
            </a:r>
            <a:r>
              <a:rPr lang="ru-RU" dirty="0" smtClean="0">
                <a:solidFill>
                  <a:schemeClr val="tx1"/>
                </a:solidFill>
              </a:rPr>
              <a:t>РАЗВИТ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9C0C3B-C0BA-40F0-9D9D-4E7ECA6E5A7D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4805986" y="1005483"/>
            <a:ext cx="1650640" cy="1656184"/>
          </a:xfrm>
          <a:prstGeom prst="ellipse">
            <a:avLst/>
          </a:prstGeom>
          <a:solidFill>
            <a:srgbClr val="F8820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/>
          </a:p>
        </p:txBody>
      </p:sp>
      <p:sp>
        <p:nvSpPr>
          <p:cNvPr id="10" name="Овал 9"/>
          <p:cNvSpPr/>
          <p:nvPr/>
        </p:nvSpPr>
        <p:spPr>
          <a:xfrm>
            <a:off x="7011785" y="1005483"/>
            <a:ext cx="1701564" cy="1656184"/>
          </a:xfrm>
          <a:prstGeom prst="ellipse">
            <a:avLst/>
          </a:prstGeom>
          <a:solidFill>
            <a:srgbClr val="F8820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/>
              <a:t>КУЛЬТУРА </a:t>
            </a:r>
          </a:p>
        </p:txBody>
      </p:sp>
      <p:sp>
        <p:nvSpPr>
          <p:cNvPr id="12" name="Овал 11"/>
          <p:cNvSpPr/>
          <p:nvPr/>
        </p:nvSpPr>
        <p:spPr>
          <a:xfrm>
            <a:off x="285309" y="1004114"/>
            <a:ext cx="1703993" cy="1656184"/>
          </a:xfrm>
          <a:prstGeom prst="ellipse">
            <a:avLst/>
          </a:prstGeom>
          <a:solidFill>
            <a:srgbClr val="F8820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/>
          </a:p>
        </p:txBody>
      </p:sp>
      <p:sp>
        <p:nvSpPr>
          <p:cNvPr id="13" name="Овал 12"/>
          <p:cNvSpPr/>
          <p:nvPr/>
        </p:nvSpPr>
        <p:spPr>
          <a:xfrm>
            <a:off x="2534775" y="1034463"/>
            <a:ext cx="1716052" cy="1656184"/>
          </a:xfrm>
          <a:prstGeom prst="ellipse">
            <a:avLst/>
          </a:prstGeom>
          <a:solidFill>
            <a:srgbClr val="F8820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/>
              <a:t>КОНТЕНТ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286312" y="2677940"/>
            <a:ext cx="2475816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Массовые </a:t>
            </a:r>
            <a:r>
              <a:rPr lang="ru-RU" sz="1300" dirty="0" smtClean="0"/>
              <a:t>курс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300" dirty="0"/>
              <a:t>Функциональные </a:t>
            </a:r>
            <a:r>
              <a:rPr lang="ru-RU" sz="1300" dirty="0" smtClean="0"/>
              <a:t>курсы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300" dirty="0" smtClean="0"/>
              <a:t>Функциональные </a:t>
            </a:r>
            <a:r>
              <a:rPr lang="ru-RU" sz="1300" dirty="0"/>
              <a:t>специализированные </a:t>
            </a:r>
            <a:r>
              <a:rPr lang="ru-RU" sz="1300" dirty="0" smtClean="0"/>
              <a:t>школы (ЭШР)</a:t>
            </a:r>
          </a:p>
          <a:p>
            <a:endParaRPr lang="ru-RU" sz="600" dirty="0"/>
          </a:p>
          <a:p>
            <a:r>
              <a:rPr lang="ru-RU" sz="1300" dirty="0" smtClean="0"/>
              <a:t>Записи лекций и </a:t>
            </a:r>
            <a:r>
              <a:rPr lang="ru-RU" sz="1300" dirty="0" err="1" smtClean="0"/>
              <a:t>вебинаров</a:t>
            </a:r>
            <a:endParaRPr lang="ru-RU" sz="1300" dirty="0" smtClean="0"/>
          </a:p>
          <a:p>
            <a:endParaRPr lang="ru-RU" sz="600" dirty="0"/>
          </a:p>
          <a:p>
            <a:r>
              <a:rPr lang="ru-RU" sz="1300" dirty="0" err="1" smtClean="0"/>
              <a:t>Микрокурсы</a:t>
            </a:r>
            <a:r>
              <a:rPr lang="ru-RU" sz="1300" dirty="0" smtClean="0"/>
              <a:t> и </a:t>
            </a:r>
            <a:r>
              <a:rPr lang="ru-RU" sz="1300" dirty="0" err="1" smtClean="0"/>
              <a:t>наггетсы</a:t>
            </a:r>
            <a:endParaRPr lang="ru-RU" sz="1300" dirty="0" smtClean="0"/>
          </a:p>
          <a:p>
            <a:endParaRPr lang="ru-RU" sz="600" dirty="0"/>
          </a:p>
          <a:p>
            <a:r>
              <a:rPr lang="ru-RU" sz="1300" dirty="0" smtClean="0"/>
              <a:t>Видеообращения первых лиц</a:t>
            </a:r>
          </a:p>
          <a:p>
            <a:endParaRPr lang="ru-RU" sz="600" dirty="0"/>
          </a:p>
          <a:p>
            <a:r>
              <a:rPr lang="ru-RU" sz="1300" dirty="0" smtClean="0"/>
              <a:t>Подкасты</a:t>
            </a:r>
          </a:p>
          <a:p>
            <a:endParaRPr lang="ru-RU" sz="600" dirty="0"/>
          </a:p>
          <a:p>
            <a:r>
              <a:rPr lang="ru-RU" sz="1300" dirty="0" smtClean="0"/>
              <a:t>Аудиокниги</a:t>
            </a:r>
          </a:p>
          <a:p>
            <a:endParaRPr lang="ru-RU" sz="600" dirty="0"/>
          </a:p>
          <a:p>
            <a:r>
              <a:rPr lang="en-US" sz="1300" dirty="0" smtClean="0">
                <a:solidFill>
                  <a:schemeClr val="bg1">
                    <a:lumMod val="65000"/>
                  </a:schemeClr>
                </a:solidFill>
              </a:rPr>
              <a:t>UGC (</a:t>
            </a:r>
            <a:r>
              <a:rPr lang="ru-RU" sz="1300" dirty="0" smtClean="0">
                <a:solidFill>
                  <a:schemeClr val="bg1">
                    <a:lumMod val="65000"/>
                  </a:schemeClr>
                </a:solidFill>
              </a:rPr>
              <a:t>пользовательский контент) – 2021</a:t>
            </a:r>
          </a:p>
          <a:p>
            <a:endParaRPr lang="ru-RU" sz="6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300" dirty="0" smtClean="0">
                <a:solidFill>
                  <a:schemeClr val="bg1">
                    <a:lumMod val="65000"/>
                  </a:schemeClr>
                </a:solidFill>
              </a:rPr>
              <a:t>Виртуальный университет Росатома - 2021</a:t>
            </a:r>
            <a:endParaRPr lang="ru-RU" sz="1300" dirty="0">
              <a:solidFill>
                <a:schemeClr val="bg1">
                  <a:lumMod val="6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300" dirty="0"/>
          </a:p>
        </p:txBody>
      </p:sp>
      <p:sp>
        <p:nvSpPr>
          <p:cNvPr id="25" name="TextBox 24"/>
          <p:cNvSpPr txBox="1"/>
          <p:nvPr/>
        </p:nvSpPr>
        <p:spPr>
          <a:xfrm>
            <a:off x="76157" y="2683221"/>
            <a:ext cx="216317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Мобильное </a:t>
            </a:r>
            <a:r>
              <a:rPr lang="ru-RU" sz="1300" dirty="0" smtClean="0"/>
              <a:t>приложение РЕКОРД </a:t>
            </a:r>
            <a:r>
              <a:rPr lang="en-US" sz="1300" dirty="0" smtClean="0"/>
              <a:t>mobile</a:t>
            </a:r>
            <a:endParaRPr lang="ru-RU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300" dirty="0" smtClean="0"/>
              <a:t>Веб</a:t>
            </a:r>
            <a:r>
              <a:rPr lang="en-US" sz="1300" dirty="0" smtClean="0"/>
              <a:t>-</a:t>
            </a:r>
            <a:r>
              <a:rPr lang="ru-RU" sz="1300" dirty="0" smtClean="0"/>
              <a:t>портал</a:t>
            </a:r>
            <a:r>
              <a:rPr lang="en-US" sz="1300" dirty="0" smtClean="0"/>
              <a:t> </a:t>
            </a:r>
            <a:r>
              <a:rPr lang="en-US" sz="1300" b="1" dirty="0" smtClean="0">
                <a:solidFill>
                  <a:srgbClr val="0070C0"/>
                </a:solidFill>
              </a:rPr>
              <a:t>ml.rosatom.ru</a:t>
            </a:r>
            <a:endParaRPr lang="ru-RU" sz="1300" b="1" dirty="0" smtClean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 smtClean="0"/>
          </a:p>
          <a:p>
            <a:r>
              <a:rPr lang="ru-RU" sz="1300" dirty="0" smtClean="0"/>
              <a:t>Инструменты разработки электронных курс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300" dirty="0" smtClean="0"/>
              <a:t>Интеграция </a:t>
            </a:r>
            <a:r>
              <a:rPr lang="en-US" sz="1300" dirty="0" smtClean="0"/>
              <a:t>SCORM-</a:t>
            </a:r>
            <a:r>
              <a:rPr lang="ru-RU" sz="1300" dirty="0" smtClean="0"/>
              <a:t>курсов и функциональных школ с системой РЕКОР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 smtClean="0"/>
          </a:p>
          <a:p>
            <a:r>
              <a:rPr lang="ru-RU" sz="1300" dirty="0" smtClean="0"/>
              <a:t>Система метрик контроля</a:t>
            </a:r>
            <a:endParaRPr lang="ru-RU" sz="1300" dirty="0"/>
          </a:p>
        </p:txBody>
      </p:sp>
      <p:sp>
        <p:nvSpPr>
          <p:cNvPr id="26" name="TextBox 25"/>
          <p:cNvSpPr txBox="1"/>
          <p:nvPr/>
        </p:nvSpPr>
        <p:spPr>
          <a:xfrm>
            <a:off x="4777554" y="2660298"/>
            <a:ext cx="2314725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/>
              <a:t>Централизованные </a:t>
            </a:r>
            <a:r>
              <a:rPr lang="ru-RU" sz="1300" dirty="0"/>
              <a:t>тематические </a:t>
            </a:r>
            <a:r>
              <a:rPr lang="ru-RU" sz="1300" dirty="0" smtClean="0"/>
              <a:t>дайджесты</a:t>
            </a:r>
          </a:p>
          <a:p>
            <a:endParaRPr lang="ru-RU" sz="600" dirty="0"/>
          </a:p>
          <a:p>
            <a:r>
              <a:rPr lang="ru-RU" sz="1300" dirty="0" smtClean="0"/>
              <a:t>Коммуникация на местах о возможностях платформы</a:t>
            </a:r>
          </a:p>
          <a:p>
            <a:endParaRPr lang="ru-RU" sz="600" dirty="0"/>
          </a:p>
          <a:p>
            <a:r>
              <a:rPr lang="ru-RU" sz="1300" dirty="0" smtClean="0"/>
              <a:t>Презентации на отраслевых конференциях</a:t>
            </a:r>
          </a:p>
          <a:p>
            <a:endParaRPr lang="ru-RU" sz="600" dirty="0"/>
          </a:p>
          <a:p>
            <a:r>
              <a:rPr lang="ru-RU" sz="1300" dirty="0" smtClean="0"/>
              <a:t>Лента новостей</a:t>
            </a:r>
          </a:p>
          <a:p>
            <a:endParaRPr lang="ru-RU" sz="600" dirty="0"/>
          </a:p>
          <a:p>
            <a:r>
              <a:rPr lang="ru-RU" sz="1300" dirty="0" smtClean="0"/>
              <a:t>Уведомления о новинках</a:t>
            </a:r>
          </a:p>
          <a:p>
            <a:endParaRPr lang="ru-RU" sz="600" dirty="0"/>
          </a:p>
          <a:p>
            <a:r>
              <a:rPr lang="ru-RU" sz="1300" dirty="0" err="1" smtClean="0"/>
              <a:t>Ребрендинг</a:t>
            </a:r>
            <a:r>
              <a:rPr lang="ru-RU" sz="1300" dirty="0" smtClean="0"/>
              <a:t> и новый рекламный пакет</a:t>
            </a:r>
          </a:p>
          <a:p>
            <a:endParaRPr lang="ru-RU" sz="600" dirty="0"/>
          </a:p>
          <a:p>
            <a:r>
              <a:rPr lang="ru-RU" sz="1300" dirty="0" smtClean="0"/>
              <a:t>Работа с тренерским корпусом</a:t>
            </a:r>
          </a:p>
          <a:p>
            <a:endParaRPr lang="ru-RU" sz="600" dirty="0"/>
          </a:p>
          <a:p>
            <a:r>
              <a:rPr lang="ru-RU" sz="1300" dirty="0" smtClean="0"/>
              <a:t>Включение в адаптационную программу</a:t>
            </a:r>
            <a:endParaRPr lang="ru-RU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7078015" y="2660298"/>
            <a:ext cx="205172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/>
              <a:t>Распространение цифровой </a:t>
            </a:r>
            <a:r>
              <a:rPr lang="ru-RU" sz="1300" dirty="0"/>
              <a:t>культуры </a:t>
            </a:r>
            <a:r>
              <a:rPr lang="ru-RU" sz="1300" dirty="0" smtClean="0"/>
              <a:t>обучения </a:t>
            </a:r>
            <a:r>
              <a:rPr lang="ru-RU" sz="1300" dirty="0"/>
              <a:t>через ролевые </a:t>
            </a:r>
            <a:r>
              <a:rPr lang="ru-RU" sz="1300" dirty="0" smtClean="0"/>
              <a:t>модели успешных руководителей (программа «Наш путь – развитие)</a:t>
            </a:r>
          </a:p>
          <a:p>
            <a:endParaRPr lang="ru-RU" sz="600" dirty="0" smtClean="0"/>
          </a:p>
          <a:p>
            <a:endParaRPr lang="ru-RU" sz="600" dirty="0"/>
          </a:p>
          <a:p>
            <a:r>
              <a:rPr lang="ru-RU" sz="1300" dirty="0" smtClean="0"/>
              <a:t>Привлечение дивизионов </a:t>
            </a:r>
            <a:r>
              <a:rPr lang="ru-RU" sz="1300" dirty="0"/>
              <a:t>к созданию </a:t>
            </a:r>
            <a:r>
              <a:rPr lang="ru-RU" sz="1300" dirty="0" smtClean="0"/>
              <a:t>контента (Росатом для Росатома)</a:t>
            </a:r>
            <a:endParaRPr lang="ru-RU" sz="1300" dirty="0"/>
          </a:p>
        </p:txBody>
      </p:sp>
      <p:sp>
        <p:nvSpPr>
          <p:cNvPr id="28" name="TextBox 27"/>
          <p:cNvSpPr txBox="1"/>
          <p:nvPr/>
        </p:nvSpPr>
        <p:spPr>
          <a:xfrm>
            <a:off x="2519348" y="1143974"/>
            <a:ext cx="1716051" cy="24622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54 курса - 2018</a:t>
            </a:r>
            <a:endParaRPr lang="ru-RU" sz="10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2371626" y="1437573"/>
            <a:ext cx="2011497" cy="24622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132 курса - 2019</a:t>
            </a:r>
            <a:endParaRPr lang="ru-RU" sz="1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2371626" y="2072670"/>
            <a:ext cx="2122385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&gt;</a:t>
            </a:r>
            <a:r>
              <a:rPr lang="ru-RU" sz="1200" b="1" dirty="0" smtClean="0"/>
              <a:t>1300 курсов - 2020</a:t>
            </a:r>
            <a:endParaRPr lang="ru-RU" sz="12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93189" y="1611302"/>
            <a:ext cx="2088232" cy="3438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ИНФРАСТРУКТУРА</a:t>
            </a:r>
            <a:endParaRPr lang="ru-RU" sz="12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600990" y="1611302"/>
            <a:ext cx="2088232" cy="3438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ПРОДВИЖЕНИЕ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49577268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39322"/>
            <a:ext cx="4328943" cy="258763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208143" cy="962025"/>
          </a:xfrm>
        </p:spPr>
        <p:txBody>
          <a:bodyPr/>
          <a:lstStyle/>
          <a:p>
            <a:r>
              <a:rPr lang="ru-RU" dirty="0" smtClean="0">
                <a:solidFill>
                  <a:schemeClr val="tx1"/>
                </a:solidFill>
              </a:rPr>
              <a:t>ЗАПУСК ПРОДУКТА. СТАТИСТИК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79572" y="2463630"/>
            <a:ext cx="51795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8820C"/>
                </a:solidFill>
              </a:rPr>
              <a:t>01.12.2</a:t>
            </a:r>
            <a:r>
              <a:rPr lang="ru-RU" sz="1600" b="1" dirty="0">
                <a:solidFill>
                  <a:srgbClr val="F8820C"/>
                </a:solidFill>
              </a:rPr>
              <a:t>01</a:t>
            </a:r>
            <a:r>
              <a:rPr lang="ru-RU" sz="1600" b="1" dirty="0">
                <a:solidFill>
                  <a:srgbClr val="F8820C"/>
                </a:solidFill>
              </a:rPr>
              <a:t>9</a:t>
            </a:r>
            <a:r>
              <a:rPr lang="ru-RU" sz="1300" dirty="0" smtClean="0"/>
              <a:t> – запуск продукта в промышленную эксплуатацию</a:t>
            </a:r>
            <a:endParaRPr lang="ru-RU" sz="1300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49" y="2056859"/>
            <a:ext cx="1879434" cy="288412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244365" y="3119796"/>
            <a:ext cx="4800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8820C"/>
                </a:solidFill>
              </a:rPr>
              <a:t>9,5 тыс. </a:t>
            </a:r>
            <a:r>
              <a:rPr lang="ru-RU" sz="1300" dirty="0" smtClean="0"/>
              <a:t>авторизованных пользователей</a:t>
            </a:r>
            <a:endParaRPr lang="ru-RU" sz="1300" dirty="0"/>
          </a:p>
        </p:txBody>
      </p:sp>
      <p:sp>
        <p:nvSpPr>
          <p:cNvPr id="22" name="TextBox 21"/>
          <p:cNvSpPr txBox="1"/>
          <p:nvPr/>
        </p:nvSpPr>
        <p:spPr>
          <a:xfrm>
            <a:off x="3755944" y="2762939"/>
            <a:ext cx="54729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/>
              <a:t>Созданы учётные записи для </a:t>
            </a:r>
            <a:r>
              <a:rPr lang="ru-RU" sz="1300" dirty="0" smtClean="0"/>
              <a:t>сотрудников</a:t>
            </a:r>
            <a:r>
              <a:rPr lang="en-US" sz="1600" b="1" dirty="0" smtClean="0">
                <a:solidFill>
                  <a:srgbClr val="F8820C"/>
                </a:solidFill>
              </a:rPr>
              <a:t> </a:t>
            </a:r>
            <a:r>
              <a:rPr lang="ru-RU" sz="1300" dirty="0"/>
              <a:t>из </a:t>
            </a:r>
            <a:r>
              <a:rPr lang="ru-RU" sz="1600" b="1" dirty="0" smtClean="0">
                <a:solidFill>
                  <a:srgbClr val="F8820C"/>
                </a:solidFill>
              </a:rPr>
              <a:t>150 </a:t>
            </a:r>
            <a:r>
              <a:rPr lang="ru-RU" sz="1300" dirty="0"/>
              <a:t>предприятий</a:t>
            </a:r>
            <a:endParaRPr lang="ru-RU" sz="1300" dirty="0"/>
          </a:p>
        </p:txBody>
      </p:sp>
      <p:sp>
        <p:nvSpPr>
          <p:cNvPr id="23" name="TextBox 22"/>
          <p:cNvSpPr txBox="1"/>
          <p:nvPr/>
        </p:nvSpPr>
        <p:spPr>
          <a:xfrm>
            <a:off x="3779572" y="1995801"/>
            <a:ext cx="11446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8820C"/>
                </a:solidFill>
              </a:rPr>
              <a:t>2019</a:t>
            </a:r>
            <a:endParaRPr lang="ru-RU" sz="2800" dirty="0"/>
          </a:p>
        </p:txBody>
      </p:sp>
      <p:sp>
        <p:nvSpPr>
          <p:cNvPr id="24" name="TextBox 23"/>
          <p:cNvSpPr txBox="1"/>
          <p:nvPr/>
        </p:nvSpPr>
        <p:spPr>
          <a:xfrm>
            <a:off x="4276059" y="3460816"/>
            <a:ext cx="49528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З</a:t>
            </a:r>
            <a:r>
              <a:rPr lang="ru-RU" sz="1300" dirty="0" smtClean="0"/>
              <a:t>агружено </a:t>
            </a:r>
            <a:r>
              <a:rPr lang="ru-RU" sz="1600" b="1" dirty="0" smtClean="0">
                <a:solidFill>
                  <a:srgbClr val="F8820C"/>
                </a:solidFill>
              </a:rPr>
              <a:t>132 </a:t>
            </a:r>
            <a:r>
              <a:rPr lang="ru-RU" sz="1300" dirty="0" smtClean="0"/>
              <a:t>единицы </a:t>
            </a:r>
            <a:r>
              <a:rPr lang="ru-RU" sz="1300" dirty="0"/>
              <a:t>обучающего </a:t>
            </a:r>
            <a:r>
              <a:rPr lang="ru-RU" sz="1300" dirty="0" smtClean="0"/>
              <a:t>контента</a:t>
            </a:r>
            <a:endParaRPr lang="ru-RU" sz="1300" dirty="0"/>
          </a:p>
        </p:txBody>
      </p:sp>
      <p:sp>
        <p:nvSpPr>
          <p:cNvPr id="31" name="TextBox 30"/>
          <p:cNvSpPr txBox="1"/>
          <p:nvPr/>
        </p:nvSpPr>
        <p:spPr>
          <a:xfrm>
            <a:off x="353828" y="5181169"/>
            <a:ext cx="11446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8820C"/>
                </a:solidFill>
              </a:rPr>
              <a:t>2020</a:t>
            </a:r>
            <a:endParaRPr lang="ru-RU" sz="2800" dirty="0"/>
          </a:p>
        </p:txBody>
      </p:sp>
      <p:sp>
        <p:nvSpPr>
          <p:cNvPr id="32" name="TextBox 31"/>
          <p:cNvSpPr txBox="1"/>
          <p:nvPr/>
        </p:nvSpPr>
        <p:spPr>
          <a:xfrm>
            <a:off x="1908982" y="4104843"/>
            <a:ext cx="38893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F8820C"/>
                </a:solidFill>
              </a:rPr>
              <a:t>45,5 </a:t>
            </a:r>
            <a:r>
              <a:rPr lang="ru-RU" sz="1600" b="1" dirty="0">
                <a:solidFill>
                  <a:srgbClr val="F8820C"/>
                </a:solidFill>
              </a:rPr>
              <a:t>тыс. </a:t>
            </a:r>
            <a:r>
              <a:rPr lang="ru-RU" sz="1300" dirty="0" smtClean="0"/>
              <a:t>авторизованных пользователей </a:t>
            </a:r>
            <a:endParaRPr lang="ru-RU" sz="13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E9E0CEF-0945-4AF6-A4CA-C0009B3B9CE4}"/>
              </a:ext>
            </a:extLst>
          </p:cNvPr>
          <p:cNvSpPr txBox="1"/>
          <p:nvPr/>
        </p:nvSpPr>
        <p:spPr>
          <a:xfrm>
            <a:off x="1908982" y="4439847"/>
            <a:ext cx="59033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Из них: </a:t>
            </a:r>
            <a:r>
              <a:rPr lang="ru-RU" sz="1600" b="1" dirty="0">
                <a:solidFill>
                  <a:srgbClr val="F8820C"/>
                </a:solidFill>
              </a:rPr>
              <a:t>24 692 </a:t>
            </a:r>
            <a:r>
              <a:rPr lang="ru-RU" sz="1300" dirty="0"/>
              <a:t>пользователей активно используют платформу</a:t>
            </a:r>
            <a:endParaRPr lang="ru-RU" sz="13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1480838" y="5456022"/>
            <a:ext cx="26636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8820C"/>
                </a:solidFill>
              </a:rPr>
              <a:t>5955</a:t>
            </a:r>
            <a:r>
              <a:rPr lang="ru-RU" dirty="0" smtClean="0">
                <a:latin typeface="Arial Black" panose="020B0A04020102020204" pitchFamily="34" charset="0"/>
              </a:rPr>
              <a:t> </a:t>
            </a:r>
            <a:r>
              <a:rPr lang="ru-RU" sz="1300" dirty="0"/>
              <a:t>входов в день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779572" y="954656"/>
            <a:ext cx="28639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8820C"/>
                </a:solidFill>
              </a:rPr>
              <a:t>декабрь</a:t>
            </a:r>
            <a:r>
              <a:rPr lang="ru-RU" sz="2800" b="1" dirty="0" smtClean="0">
                <a:solidFill>
                  <a:srgbClr val="F8820C"/>
                </a:solidFill>
              </a:rPr>
              <a:t> </a:t>
            </a:r>
            <a:r>
              <a:rPr lang="en-US" sz="2800" b="1" dirty="0" smtClean="0">
                <a:solidFill>
                  <a:srgbClr val="F8820C"/>
                </a:solidFill>
              </a:rPr>
              <a:t>201</a:t>
            </a:r>
            <a:r>
              <a:rPr lang="ru-RU" sz="2800" b="1" dirty="0" smtClean="0">
                <a:solidFill>
                  <a:srgbClr val="F8820C"/>
                </a:solidFill>
              </a:rPr>
              <a:t>8</a:t>
            </a:r>
            <a:endParaRPr lang="ru-RU" sz="2800" dirty="0"/>
          </a:p>
        </p:txBody>
      </p:sp>
      <p:sp>
        <p:nvSpPr>
          <p:cNvPr id="42" name="TextBox 41"/>
          <p:cNvSpPr txBox="1"/>
          <p:nvPr/>
        </p:nvSpPr>
        <p:spPr>
          <a:xfrm>
            <a:off x="3779573" y="1393105"/>
            <a:ext cx="520023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П</a:t>
            </a:r>
            <a:r>
              <a:rPr lang="ru-RU" sz="1300" dirty="0"/>
              <a:t>ринято решение </a:t>
            </a:r>
            <a:r>
              <a:rPr lang="ru-RU" sz="1300" dirty="0" smtClean="0"/>
              <a:t>о разработке мобильного приложения и его веб-версии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971444" y="3957720"/>
            <a:ext cx="6624736" cy="230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1475656" y="5108466"/>
            <a:ext cx="6475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8820C"/>
                </a:solidFill>
              </a:rPr>
              <a:t>18%</a:t>
            </a:r>
            <a:r>
              <a:rPr lang="ru-RU" dirty="0" smtClean="0">
                <a:solidFill>
                  <a:srgbClr val="FFC000"/>
                </a:solidFill>
                <a:latin typeface="Arial Black" panose="020B0A04020102020204" pitchFamily="34" charset="0"/>
              </a:rPr>
              <a:t> </a:t>
            </a:r>
            <a:r>
              <a:rPr lang="ru-RU" sz="1300" dirty="0"/>
              <a:t>сотрудников РСС завершили хотя бы 1 курс в приложении РЕКОРД </a:t>
            </a:r>
            <a:r>
              <a:rPr lang="en-US" sz="1300" dirty="0" smtClean="0"/>
              <a:t>mobile</a:t>
            </a:r>
            <a:endParaRPr lang="ru-RU" sz="13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3FA8D48-C4BB-4B49-9953-CF75F532ABF2}"/>
              </a:ext>
            </a:extLst>
          </p:cNvPr>
          <p:cNvSpPr txBox="1"/>
          <p:nvPr/>
        </p:nvSpPr>
        <p:spPr>
          <a:xfrm>
            <a:off x="1475656" y="6086029"/>
            <a:ext cx="78907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По результатам общеотраслевого опроса удовлетворённость </a:t>
            </a:r>
            <a:r>
              <a:rPr lang="ru-RU" sz="1300" dirty="0"/>
              <a:t>платформой: </a:t>
            </a:r>
            <a:r>
              <a:rPr lang="ru-RU" sz="1600" b="1" dirty="0" smtClean="0">
                <a:solidFill>
                  <a:srgbClr val="F8820C"/>
                </a:solidFill>
              </a:rPr>
              <a:t>7,2 </a:t>
            </a:r>
            <a:r>
              <a:rPr lang="ru-RU" sz="1600" b="1" dirty="0">
                <a:solidFill>
                  <a:srgbClr val="F8820C"/>
                </a:solidFill>
              </a:rPr>
              <a:t>балла из 10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475656" y="5763104"/>
            <a:ext cx="63367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З</a:t>
            </a:r>
            <a:r>
              <a:rPr lang="ru-RU" sz="1300" dirty="0" smtClean="0"/>
              <a:t>агружено </a:t>
            </a:r>
            <a:r>
              <a:rPr lang="en-US" sz="1600" b="1" dirty="0" smtClean="0">
                <a:solidFill>
                  <a:srgbClr val="F8820C"/>
                </a:solidFill>
              </a:rPr>
              <a:t>&gt;1300</a:t>
            </a:r>
            <a:r>
              <a:rPr lang="ru-RU" sz="1600" b="1" dirty="0" smtClean="0">
                <a:solidFill>
                  <a:srgbClr val="F8820C"/>
                </a:solidFill>
              </a:rPr>
              <a:t> </a:t>
            </a:r>
            <a:r>
              <a:rPr lang="ru-RU" sz="1300" dirty="0"/>
              <a:t>единиц обучающего </a:t>
            </a:r>
            <a:r>
              <a:rPr lang="ru-RU" sz="1300" dirty="0" smtClean="0"/>
              <a:t>контента</a:t>
            </a:r>
            <a:endParaRPr lang="ru-RU" sz="1300" dirty="0"/>
          </a:p>
        </p:txBody>
      </p:sp>
      <p:sp>
        <p:nvSpPr>
          <p:cNvPr id="5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6448425"/>
            <a:ext cx="627062" cy="377825"/>
          </a:xfrm>
        </p:spPr>
        <p:txBody>
          <a:bodyPr/>
          <a:lstStyle/>
          <a:p>
            <a:pPr>
              <a:defRPr/>
            </a:pPr>
            <a:fld id="{A09C0C3B-C0BA-40F0-9D9D-4E7ECA6E5A7D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1498449" y="4795547"/>
            <a:ext cx="73665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/>
              <a:t>Добавлено </a:t>
            </a:r>
            <a:r>
              <a:rPr lang="ru-RU" sz="1600" b="1" dirty="0">
                <a:solidFill>
                  <a:srgbClr val="F8820C"/>
                </a:solidFill>
              </a:rPr>
              <a:t>18</a:t>
            </a:r>
            <a:r>
              <a:rPr lang="ru-RU" sz="1300" dirty="0"/>
              <a:t> </a:t>
            </a:r>
            <a:r>
              <a:rPr lang="ru-RU" sz="1300" dirty="0" smtClean="0"/>
              <a:t>предприятий, находящихся вне контура </a:t>
            </a:r>
            <a:r>
              <a:rPr lang="ru-RU" sz="1300" dirty="0" err="1" smtClean="0"/>
              <a:t>РЕКОРДа</a:t>
            </a:r>
            <a:r>
              <a:rPr lang="ru-RU" sz="1300" dirty="0" smtClean="0"/>
              <a:t> </a:t>
            </a:r>
            <a:r>
              <a:rPr lang="ru-RU" sz="1300" dirty="0"/>
              <a:t>(включая филиалы)</a:t>
            </a:r>
            <a:endParaRPr lang="ru-RU" sz="1300" dirty="0"/>
          </a:p>
        </p:txBody>
      </p:sp>
    </p:spTree>
    <p:extLst>
      <p:ext uri="{BB962C8B-B14F-4D97-AF65-F5344CB8AC3E}">
        <p14:creationId xmlns:p14="http://schemas.microsoft.com/office/powerpoint/2010/main" val="3965909921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Заголовок 1"/>
          <p:cNvSpPr>
            <a:spLocks noGrp="1"/>
          </p:cNvSpPr>
          <p:nvPr>
            <p:ph type="title"/>
          </p:nvPr>
        </p:nvSpPr>
        <p:spPr>
          <a:xfrm>
            <a:off x="338915" y="21472"/>
            <a:ext cx="7493889" cy="962025"/>
          </a:xfrm>
        </p:spPr>
        <p:txBody>
          <a:bodyPr/>
          <a:lstStyle/>
          <a:p>
            <a:r>
              <a:rPr lang="ru-RU" altLang="ru-RU" dirty="0" smtClean="0">
                <a:solidFill>
                  <a:schemeClr val="tx1"/>
                </a:solidFill>
              </a:rPr>
              <a:t>ПРОБЛЕМЫ, С КОТОРЫМИ МЫ СТОЛКНУЛИСЬ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10247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259219" y="6426798"/>
            <a:ext cx="627062" cy="3778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 smtClean="0">
                <a:solidFill>
                  <a:schemeClr val="hlink"/>
                </a:solidFill>
              </a:rPr>
              <a:t>6</a:t>
            </a:r>
            <a:endParaRPr lang="ru-RU" altLang="ru-RU" dirty="0">
              <a:solidFill>
                <a:schemeClr val="hlink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611016" y="1340768"/>
            <a:ext cx="8136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лабая </a:t>
            </a:r>
            <a:r>
              <a:rPr lang="ru-RU" dirty="0"/>
              <a:t>мотивация сотрудников к </a:t>
            </a:r>
            <a:r>
              <a:rPr lang="ru-RU" dirty="0" smtClean="0"/>
              <a:t>дистанционному обучению. Сотрудники привыкли посещать аудиторные занятия  </a:t>
            </a:r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E9E0CEF-0945-4AF6-A4CA-C0009B3B9CE4}"/>
              </a:ext>
            </a:extLst>
          </p:cNvPr>
          <p:cNvSpPr txBox="1"/>
          <p:nvPr/>
        </p:nvSpPr>
        <p:spPr>
          <a:xfrm>
            <a:off x="592524" y="2203471"/>
            <a:ext cx="81413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Требования службы безопасности к логину и паролю. Сложности с установкой приложения и авторизацией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592524" y="3932672"/>
            <a:ext cx="83433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Частые сбои и поломки</a:t>
            </a:r>
            <a:r>
              <a:rPr lang="ru-RU" dirty="0" smtClean="0"/>
              <a:t>. Необходимо время, чтобы гармонизировать систему и форматы загружаемого контента</a:t>
            </a:r>
            <a:endParaRPr lang="ru-RU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592524" y="3066174"/>
            <a:ext cx="82937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егибкое коробочное решение. Необходимость в «</a:t>
            </a:r>
            <a:r>
              <a:rPr lang="ru-RU" dirty="0" err="1" smtClean="0"/>
              <a:t>докрутке</a:t>
            </a:r>
            <a:r>
              <a:rPr lang="ru-RU" dirty="0" smtClean="0"/>
              <a:t>» функционала платформы</a:t>
            </a:r>
          </a:p>
          <a:p>
            <a:endParaRPr lang="ru-RU" dirty="0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63" y="2262177"/>
            <a:ext cx="314708" cy="358656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63" y="1371501"/>
            <a:ext cx="314708" cy="358656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63" y="3148080"/>
            <a:ext cx="314708" cy="35865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63" y="3989504"/>
            <a:ext cx="314708" cy="35865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592524" y="4839397"/>
            <a:ext cx="85509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изкая производительность системы. Ограничение по количеству одновременных сессий</a:t>
            </a:r>
            <a:endParaRPr lang="ru-RU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63" y="4941168"/>
            <a:ext cx="314708" cy="35865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563670" y="5658078"/>
            <a:ext cx="85509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е отлажен механизм работы с комментариями пользователей</a:t>
            </a:r>
            <a:endParaRPr lang="ru-RU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63" y="5673563"/>
            <a:ext cx="314708" cy="35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62305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>
                <a:solidFill>
                  <a:schemeClr val="tx1"/>
                </a:solidFill>
              </a:rPr>
              <a:t>ДОСТИЖЕНИЯ 2020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1024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 smtClean="0">
                <a:solidFill>
                  <a:schemeClr val="hlink"/>
                </a:solidFill>
              </a:rPr>
              <a:t>7</a:t>
            </a:r>
            <a:endParaRPr lang="ru-RU" altLang="ru-RU" dirty="0">
              <a:solidFill>
                <a:schemeClr val="hlink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107504" y="1268760"/>
            <a:ext cx="8914191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величена максимальная вместимость системы </a:t>
            </a:r>
            <a:endParaRPr lang="ru-RU" sz="1400" dirty="0" smtClean="0"/>
          </a:p>
          <a:p>
            <a:r>
              <a:rPr lang="ru-RU" sz="1400" dirty="0"/>
              <a:t> </a:t>
            </a:r>
            <a:r>
              <a:rPr lang="ru-RU" sz="1400" dirty="0" smtClean="0"/>
              <a:t>      (</a:t>
            </a:r>
            <a:r>
              <a:rPr lang="ru-RU" sz="1600" b="1" dirty="0">
                <a:solidFill>
                  <a:srgbClr val="F8820C"/>
                </a:solidFill>
              </a:rPr>
              <a:t>с 2 тыс. до 3,5 тыс. </a:t>
            </a:r>
            <a:r>
              <a:rPr lang="ru-RU" sz="1400" dirty="0"/>
              <a:t>одновременных </a:t>
            </a:r>
            <a:r>
              <a:rPr lang="ru-RU" sz="1400" dirty="0" smtClean="0"/>
              <a:t>сессий)</a:t>
            </a:r>
          </a:p>
          <a:p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У пользователей появилась </a:t>
            </a:r>
            <a:r>
              <a:rPr lang="ru-RU" sz="1400" dirty="0"/>
              <a:t>возможность ставить лайки/</a:t>
            </a:r>
            <a:r>
              <a:rPr lang="ru-RU" sz="1400" dirty="0" err="1"/>
              <a:t>дизлайки</a:t>
            </a:r>
            <a:r>
              <a:rPr lang="ru-RU" sz="1400" dirty="0"/>
              <a:t> и оставлять </a:t>
            </a:r>
            <a:r>
              <a:rPr lang="ru-RU" sz="1400" dirty="0" smtClean="0"/>
              <a:t>комментарии </a:t>
            </a:r>
          </a:p>
          <a:p>
            <a:r>
              <a:rPr lang="ru-RU" sz="1400" dirty="0"/>
              <a:t> </a:t>
            </a:r>
            <a:r>
              <a:rPr lang="ru-RU" sz="1400" dirty="0" smtClean="0"/>
              <a:t>      (</a:t>
            </a:r>
            <a:r>
              <a:rPr lang="en-US" sz="1600" b="1" dirty="0">
                <a:solidFill>
                  <a:srgbClr val="F8820C"/>
                </a:solidFill>
              </a:rPr>
              <a:t>1</a:t>
            </a:r>
            <a:r>
              <a:rPr lang="ru-RU" sz="1600" b="1" dirty="0">
                <a:solidFill>
                  <a:srgbClr val="F8820C"/>
                </a:solidFill>
              </a:rPr>
              <a:t>00-120</a:t>
            </a:r>
            <a:r>
              <a:rPr lang="en-US" sz="1600" b="1" dirty="0">
                <a:solidFill>
                  <a:srgbClr val="F8820C"/>
                </a:solidFill>
              </a:rPr>
              <a:t> </a:t>
            </a:r>
            <a:r>
              <a:rPr lang="ru-RU" sz="1400" dirty="0"/>
              <a:t>комментариев</a:t>
            </a:r>
            <a:r>
              <a:rPr lang="ru-RU" sz="1400" b="1" dirty="0" smtClean="0">
                <a:solidFill>
                  <a:srgbClr val="FFC000"/>
                </a:solidFill>
              </a:rPr>
              <a:t> </a:t>
            </a:r>
            <a:r>
              <a:rPr lang="ru-RU" sz="1400" dirty="0" smtClean="0"/>
              <a:t>в неделю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еализован </a:t>
            </a:r>
            <a:r>
              <a:rPr lang="ru-RU" sz="1600" b="1" dirty="0">
                <a:solidFill>
                  <a:srgbClr val="F8820C"/>
                </a:solidFill>
              </a:rPr>
              <a:t>механизм обратной связи </a:t>
            </a:r>
            <a:r>
              <a:rPr lang="ru-RU" sz="1400" dirty="0" smtClean="0"/>
              <a:t>пользователям (на почту администратору приходит отбивка о новых комментариях, что позволяет ему реагировать мгновенно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Налажен процесс уведомлений о новых курсах / обновлениях системы/ отраслевых опроса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еализована возможность перехода по внешним ссылка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Количество обучающего контента увеличилось </a:t>
            </a:r>
            <a:r>
              <a:rPr lang="ru-RU" sz="1600" b="1" dirty="0">
                <a:solidFill>
                  <a:srgbClr val="F8820C"/>
                </a:solidFill>
              </a:rPr>
              <a:t>с 600 до </a:t>
            </a:r>
            <a:r>
              <a:rPr lang="en-US" sz="1600" b="1" dirty="0" smtClean="0">
                <a:solidFill>
                  <a:srgbClr val="F8820C"/>
                </a:solidFill>
              </a:rPr>
              <a:t>&gt;</a:t>
            </a:r>
            <a:r>
              <a:rPr lang="ru-RU" sz="1600" b="1" dirty="0" smtClean="0">
                <a:solidFill>
                  <a:srgbClr val="F8820C"/>
                </a:solidFill>
              </a:rPr>
              <a:t>1</a:t>
            </a:r>
            <a:r>
              <a:rPr lang="en-US" sz="1600" b="1" dirty="0" smtClean="0">
                <a:solidFill>
                  <a:srgbClr val="F8820C"/>
                </a:solidFill>
              </a:rPr>
              <a:t>3</a:t>
            </a:r>
            <a:r>
              <a:rPr lang="ru-RU" sz="1600" b="1" dirty="0" smtClean="0">
                <a:solidFill>
                  <a:srgbClr val="F8820C"/>
                </a:solidFill>
              </a:rPr>
              <a:t>00 </a:t>
            </a:r>
            <a:r>
              <a:rPr lang="ru-RU" sz="1400" dirty="0" smtClean="0"/>
              <a:t>единиц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Каталог курсов теперь отражается в виде списка и доступен для печати</a:t>
            </a: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 каталоге появились новые разделы: </a:t>
            </a:r>
            <a:r>
              <a:rPr lang="ru-RU" sz="1600" b="1" dirty="0">
                <a:solidFill>
                  <a:srgbClr val="F8820C"/>
                </a:solidFill>
              </a:rPr>
              <a:t>«Росатом для Росатома»</a:t>
            </a:r>
            <a:r>
              <a:rPr lang="ru-RU" sz="1400" dirty="0"/>
              <a:t>,</a:t>
            </a:r>
            <a:r>
              <a:rPr lang="ru-RU" sz="1600" b="1" dirty="0">
                <a:solidFill>
                  <a:srgbClr val="F8820C"/>
                </a:solidFill>
              </a:rPr>
              <a:t> </a:t>
            </a:r>
            <a:r>
              <a:rPr lang="ru-RU" sz="1400" dirty="0" smtClean="0"/>
              <a:t>«Культура безопасности», «Повышение цифровой грамотности», «Благополучие работников», «Обучение рабочих и инженеров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 веб-версии появилась </a:t>
            </a:r>
            <a:r>
              <a:rPr lang="ru-RU" sz="1600" b="1" dirty="0">
                <a:solidFill>
                  <a:srgbClr val="F8820C"/>
                </a:solidFill>
              </a:rPr>
              <a:t>Лента новостей </a:t>
            </a:r>
            <a:r>
              <a:rPr lang="ru-RU" sz="1400" dirty="0" smtClean="0"/>
              <a:t>и </a:t>
            </a:r>
            <a:r>
              <a:rPr lang="ru-RU" sz="1600" b="1" dirty="0">
                <a:solidFill>
                  <a:srgbClr val="F8820C"/>
                </a:solidFill>
              </a:rPr>
              <a:t>Р</a:t>
            </a:r>
            <a:r>
              <a:rPr lang="ru-RU" sz="1600" b="1" dirty="0" smtClean="0">
                <a:solidFill>
                  <a:srgbClr val="F8820C"/>
                </a:solidFill>
              </a:rPr>
              <a:t>асписание </a:t>
            </a:r>
            <a:r>
              <a:rPr lang="ru-RU" sz="1600" b="1" dirty="0">
                <a:solidFill>
                  <a:srgbClr val="F8820C"/>
                </a:solidFill>
              </a:rPr>
              <a:t>открытых </a:t>
            </a:r>
            <a:r>
              <a:rPr lang="ru-RU" sz="1600" b="1" dirty="0" err="1">
                <a:solidFill>
                  <a:srgbClr val="F8820C"/>
                </a:solidFill>
              </a:rPr>
              <a:t>вебинаров</a:t>
            </a:r>
            <a:endParaRPr lang="en-US" sz="1600" b="1" dirty="0">
              <a:solidFill>
                <a:srgbClr val="F8820C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Создан и выложен на Портал </a:t>
            </a:r>
            <a:r>
              <a:rPr lang="en-US" sz="1400" dirty="0" smtClean="0"/>
              <a:t>HR-</a:t>
            </a:r>
            <a:r>
              <a:rPr lang="ru-RU" sz="1400" dirty="0" smtClean="0"/>
              <a:t>школа </a:t>
            </a:r>
            <a:r>
              <a:rPr lang="ru-RU" sz="1600" b="1" dirty="0">
                <a:solidFill>
                  <a:srgbClr val="F8820C"/>
                </a:solidFill>
              </a:rPr>
              <a:t>рекламный пакет </a:t>
            </a:r>
            <a:r>
              <a:rPr lang="ru-RU" sz="1400" dirty="0" smtClean="0"/>
              <a:t>продукта РЕКОРД </a:t>
            </a:r>
            <a:r>
              <a:rPr lang="en-US" sz="1400" dirty="0" smtClean="0"/>
              <a:t>mobile </a:t>
            </a:r>
            <a:r>
              <a:rPr lang="ru-RU" sz="1400" dirty="0" smtClean="0"/>
              <a:t>(плакаты, баннеры, </a:t>
            </a:r>
            <a:r>
              <a:rPr lang="ru-RU" sz="1400" dirty="0" err="1" smtClean="0"/>
              <a:t>брендбук</a:t>
            </a:r>
            <a:r>
              <a:rPr lang="ru-RU" sz="1400" dirty="0" smtClean="0"/>
              <a:t>, инструкция по входу,  шаблоны рассылок, презентация о продукте, видеоролик)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9967642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Заголовок 1"/>
          <p:cNvSpPr>
            <a:spLocks noGrp="1"/>
          </p:cNvSpPr>
          <p:nvPr>
            <p:ph type="title"/>
          </p:nvPr>
        </p:nvSpPr>
        <p:spPr>
          <a:xfrm>
            <a:off x="467544" y="17755"/>
            <a:ext cx="7632700" cy="962025"/>
          </a:xfrm>
        </p:spPr>
        <p:txBody>
          <a:bodyPr/>
          <a:lstStyle/>
          <a:p>
            <a:r>
              <a:rPr lang="ru-RU" altLang="ru-RU" dirty="0" smtClean="0">
                <a:solidFill>
                  <a:schemeClr val="tx1"/>
                </a:solidFill>
              </a:rPr>
              <a:t>ЗАДАЧИ В РАБОТЕ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1024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4118581-03FC-4034-BC74-50C064181CAE}" type="slidenum">
              <a:rPr lang="ru-RU" altLang="ru-RU" smtClean="0">
                <a:solidFill>
                  <a:schemeClr val="hlink"/>
                </a:solidFill>
              </a:rPr>
              <a:pPr/>
              <a:t>8</a:t>
            </a:fld>
            <a:endParaRPr lang="ru-RU" altLang="ru-RU">
              <a:solidFill>
                <a:schemeClr val="hlink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2771800" y="1360861"/>
            <a:ext cx="6265169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овая стартовая страница с функционалом рекомендаций </a:t>
            </a:r>
            <a:r>
              <a:rPr lang="ru-RU" b="1" dirty="0">
                <a:solidFill>
                  <a:srgbClr val="F8820C"/>
                </a:solidFill>
              </a:rPr>
              <a:t>(искусственный интеллект</a:t>
            </a:r>
            <a:r>
              <a:rPr lang="ru-RU" b="1" dirty="0" smtClean="0">
                <a:solidFill>
                  <a:srgbClr val="F8820C"/>
                </a:solidFill>
              </a:rPr>
              <a:t>) </a:t>
            </a:r>
            <a:r>
              <a:rPr lang="ru-RU" dirty="0"/>
              <a:t>– </a:t>
            </a:r>
            <a:endParaRPr lang="ru-RU" dirty="0" smtClean="0"/>
          </a:p>
          <a:p>
            <a:r>
              <a:rPr lang="ru-RU" dirty="0" smtClean="0"/>
              <a:t>плановый </a:t>
            </a:r>
            <a:r>
              <a:rPr lang="ru-RU" dirty="0"/>
              <a:t>запуск 15 декабря</a:t>
            </a:r>
          </a:p>
          <a:p>
            <a:endParaRPr lang="ru-RU" sz="800" b="1" dirty="0">
              <a:solidFill>
                <a:srgbClr val="F8820C"/>
              </a:solidFill>
            </a:endParaRPr>
          </a:p>
          <a:p>
            <a:endParaRPr lang="ru-RU" dirty="0"/>
          </a:p>
          <a:p>
            <a:r>
              <a:rPr lang="ru-RU" dirty="0" smtClean="0"/>
              <a:t>Актуализация раздела </a:t>
            </a:r>
            <a:r>
              <a:rPr lang="ru-RU" b="1" dirty="0">
                <a:solidFill>
                  <a:srgbClr val="F8820C"/>
                </a:solidFill>
              </a:rPr>
              <a:t>«Мой профиль</a:t>
            </a:r>
            <a:r>
              <a:rPr lang="ru-RU" b="1" dirty="0" smtClean="0">
                <a:solidFill>
                  <a:srgbClr val="F8820C"/>
                </a:solidFill>
              </a:rPr>
              <a:t>»</a:t>
            </a:r>
          </a:p>
          <a:p>
            <a:endParaRPr lang="ru-RU" sz="800" b="1" dirty="0">
              <a:solidFill>
                <a:srgbClr val="F8820C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r>
              <a:rPr lang="ru-RU" dirty="0" smtClean="0"/>
              <a:t>Реализация проекта </a:t>
            </a:r>
            <a:r>
              <a:rPr lang="ru-RU" b="1" dirty="0">
                <a:solidFill>
                  <a:srgbClr val="F8820C"/>
                </a:solidFill>
              </a:rPr>
              <a:t>«Умный поиск» </a:t>
            </a:r>
            <a:r>
              <a:rPr lang="ru-RU" dirty="0" smtClean="0"/>
              <a:t>(тегирование контента)</a:t>
            </a:r>
          </a:p>
          <a:p>
            <a:endParaRPr lang="ru-RU" sz="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r>
              <a:rPr lang="ru-RU" dirty="0" smtClean="0"/>
              <a:t>Проект </a:t>
            </a:r>
            <a:r>
              <a:rPr lang="ru-RU" b="1" dirty="0">
                <a:solidFill>
                  <a:srgbClr val="F8820C"/>
                </a:solidFill>
              </a:rPr>
              <a:t>«Новая отчётность» </a:t>
            </a:r>
            <a:r>
              <a:rPr lang="ru-RU" dirty="0" smtClean="0"/>
              <a:t>в разных разрезах и с </a:t>
            </a:r>
            <a:r>
              <a:rPr lang="ru-RU" dirty="0" err="1" smtClean="0"/>
              <a:t>инфографикой</a:t>
            </a:r>
            <a:endParaRPr lang="ru-RU" dirty="0" smtClean="0"/>
          </a:p>
          <a:p>
            <a:endParaRPr lang="ru-RU" sz="800" dirty="0" smtClean="0"/>
          </a:p>
          <a:p>
            <a:endParaRPr lang="en-US" dirty="0" smtClean="0"/>
          </a:p>
          <a:p>
            <a:r>
              <a:rPr lang="ru-RU" dirty="0" smtClean="0"/>
              <a:t>Актуализация функционала </a:t>
            </a:r>
            <a:r>
              <a:rPr lang="ru-RU" b="1" dirty="0">
                <a:solidFill>
                  <a:srgbClr val="F8820C"/>
                </a:solidFill>
              </a:rPr>
              <a:t>«Тесты» </a:t>
            </a:r>
            <a:r>
              <a:rPr lang="ru-RU" dirty="0" smtClean="0"/>
              <a:t>(для участников программ УКР, совместный проект с Корпоративной академие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1484784"/>
            <a:ext cx="358656" cy="35865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986" y="2595452"/>
            <a:ext cx="358656" cy="35865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986" y="3352460"/>
            <a:ext cx="358656" cy="35865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986" y="4267374"/>
            <a:ext cx="358656" cy="358656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986" y="5262825"/>
            <a:ext cx="358656" cy="35865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830760A-DFE8-4565-B142-A09F7A30E9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502" y="1813189"/>
            <a:ext cx="1466356" cy="146635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3F9DB90-6633-4E1D-9B13-9A4D3615B73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08" y="3764632"/>
            <a:ext cx="1363550" cy="13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127357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431751"/>
            <a:ext cx="5542440" cy="3426249"/>
          </a:xfrm>
          <a:prstGeom prst="rect">
            <a:avLst/>
          </a:prstGeom>
        </p:spPr>
      </p:pic>
      <p:sp>
        <p:nvSpPr>
          <p:cNvPr id="10243" name="Заголовок 1"/>
          <p:cNvSpPr>
            <a:spLocks noGrp="1"/>
          </p:cNvSpPr>
          <p:nvPr>
            <p:ph type="title"/>
          </p:nvPr>
        </p:nvSpPr>
        <p:spPr>
          <a:xfrm>
            <a:off x="467544" y="17755"/>
            <a:ext cx="7632700" cy="962025"/>
          </a:xfrm>
        </p:spPr>
        <p:txBody>
          <a:bodyPr/>
          <a:lstStyle/>
          <a:p>
            <a:r>
              <a:rPr lang="ru-RU" altLang="ru-RU" dirty="0" smtClean="0">
                <a:solidFill>
                  <a:schemeClr val="tx1"/>
                </a:solidFill>
              </a:rPr>
              <a:t>ПЛАНЫ НА 2021</a:t>
            </a:r>
            <a:endParaRPr lang="ru-RU" altLang="ru-RU" dirty="0">
              <a:solidFill>
                <a:schemeClr val="tx1"/>
              </a:solidFill>
            </a:endParaRPr>
          </a:p>
        </p:txBody>
      </p:sp>
      <p:sp>
        <p:nvSpPr>
          <p:cNvPr id="10247" name="Номер слайда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4118581-03FC-4034-BC74-50C064181CAE}" type="slidenum">
              <a:rPr lang="ru-RU" altLang="ru-RU" smtClean="0">
                <a:solidFill>
                  <a:schemeClr val="hlink"/>
                </a:solidFill>
              </a:rPr>
              <a:pPr/>
              <a:t>9</a:t>
            </a:fld>
            <a:endParaRPr lang="ru-RU" altLang="ru-RU">
              <a:solidFill>
                <a:schemeClr val="hlink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517C37-2515-4BE4-A59B-B791FE9FA6CA}"/>
              </a:ext>
            </a:extLst>
          </p:cNvPr>
          <p:cNvSpPr txBox="1"/>
          <p:nvPr/>
        </p:nvSpPr>
        <p:spPr>
          <a:xfrm>
            <a:off x="2771221" y="1052736"/>
            <a:ext cx="633670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/>
              <a:t>Запуск</a:t>
            </a:r>
            <a:r>
              <a:rPr lang="ru-RU" sz="1200" dirty="0" smtClean="0"/>
              <a:t> </a:t>
            </a:r>
            <a:r>
              <a:rPr lang="ru-RU" sz="1600" b="1" dirty="0">
                <a:solidFill>
                  <a:srgbClr val="F8820C"/>
                </a:solidFill>
              </a:rPr>
              <a:t>индивидуальных образовательных треков </a:t>
            </a:r>
            <a:r>
              <a:rPr lang="ru-RU" sz="1300" dirty="0" smtClean="0"/>
              <a:t>(пилотный проект - «Электронная школа руководителя», начало массового обучения руководителей и преемников с использованием нового инструмента – апрель 2021года</a:t>
            </a:r>
            <a:r>
              <a:rPr lang="en-US" sz="13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r>
              <a:rPr lang="ru-RU" sz="1200" b="1" dirty="0"/>
              <a:t>Цель внедрения</a:t>
            </a:r>
            <a:r>
              <a:rPr lang="ru-RU" sz="1200" dirty="0"/>
              <a:t>: персонифицировать обучение через создание индивидуальных обучающих траекторий в зависимости от квалификации, профессии, опыта работы в отрасли и входных знаний. Возможность выбрать формат получения знаний «под себя</a:t>
            </a:r>
            <a:r>
              <a:rPr lang="ru-RU" sz="1200" dirty="0" smtClean="0"/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600" b="1" dirty="0">
                <a:solidFill>
                  <a:srgbClr val="F8820C"/>
                </a:solidFill>
              </a:rPr>
              <a:t>Проект </a:t>
            </a:r>
            <a:r>
              <a:rPr lang="en-US" sz="1600" b="1" dirty="0">
                <a:solidFill>
                  <a:srgbClr val="F8820C"/>
                </a:solidFill>
              </a:rPr>
              <a:t>‘UGC’ </a:t>
            </a:r>
            <a:r>
              <a:rPr lang="en-US" sz="1300" dirty="0" smtClean="0"/>
              <a:t>(user generated content) – </a:t>
            </a:r>
            <a:r>
              <a:rPr lang="ru-RU" sz="1300" dirty="0" smtClean="0"/>
              <a:t>встраивание редактора курсов в РЕКОРД </a:t>
            </a:r>
            <a:r>
              <a:rPr lang="en-US" sz="1300" dirty="0" smtClean="0"/>
              <a:t>mobi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r>
              <a:rPr lang="ru-RU" sz="1200" b="1" dirty="0"/>
              <a:t>Цель внедрения</a:t>
            </a:r>
            <a:r>
              <a:rPr lang="ru-RU" sz="1200" dirty="0"/>
              <a:t>: предоставить каждому работнику удобный инструмент для передачи </a:t>
            </a:r>
            <a:r>
              <a:rPr lang="ru-RU" sz="1200" dirty="0" smtClean="0"/>
              <a:t>уникального опыта, </a:t>
            </a:r>
            <a:r>
              <a:rPr lang="ru-RU" sz="1200" dirty="0"/>
              <a:t>пополнить отраслевую «копилку знаний», реализовать возможность получения знаний по быстрому запросу (корпоративный </a:t>
            </a:r>
            <a:r>
              <a:rPr lang="ru-RU" sz="1200" dirty="0" err="1"/>
              <a:t>YouTube</a:t>
            </a:r>
            <a:r>
              <a:rPr lang="ru-RU" sz="1200" dirty="0" smtClean="0"/>
              <a:t>)</a:t>
            </a: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600" b="1" dirty="0">
                <a:solidFill>
                  <a:srgbClr val="F8820C"/>
                </a:solidFill>
              </a:rPr>
              <a:t>Умная викторина </a:t>
            </a:r>
            <a:r>
              <a:rPr lang="ru-RU" sz="1300" dirty="0"/>
              <a:t>‘</a:t>
            </a:r>
            <a:r>
              <a:rPr lang="ru-RU" sz="1300" dirty="0" err="1"/>
              <a:t>Castle</a:t>
            </a:r>
            <a:r>
              <a:rPr lang="ru-RU" sz="1300" dirty="0"/>
              <a:t> </a:t>
            </a:r>
            <a:r>
              <a:rPr lang="ru-RU" sz="1300" dirty="0" err="1"/>
              <a:t>Quiz</a:t>
            </a:r>
            <a:r>
              <a:rPr lang="ru-RU" sz="1300" dirty="0"/>
              <a:t> </a:t>
            </a:r>
            <a:r>
              <a:rPr lang="ru-RU" sz="1300" dirty="0" err="1"/>
              <a:t>Work</a:t>
            </a:r>
            <a:r>
              <a:rPr lang="ru-RU" sz="1300" dirty="0"/>
              <a:t>’ (интеллектуальная битва), встроенная в </a:t>
            </a:r>
            <a:r>
              <a:rPr lang="ru-RU" sz="1300" dirty="0" smtClean="0"/>
              <a:t>РЕКОРД </a:t>
            </a:r>
            <a:r>
              <a:rPr lang="en-US" sz="1300" dirty="0" smtClean="0"/>
              <a:t>mobile</a:t>
            </a:r>
            <a:endParaRPr lang="ru-RU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200" b="1" dirty="0"/>
              <a:t>Цель внедрения</a:t>
            </a:r>
            <a:r>
              <a:rPr lang="ru-RU" sz="1200" dirty="0"/>
              <a:t>: </a:t>
            </a:r>
            <a:r>
              <a:rPr lang="ru-RU" sz="1200" dirty="0" err="1"/>
              <a:t>геймифицировать</a:t>
            </a:r>
            <a:r>
              <a:rPr lang="ru-RU" sz="1200" dirty="0"/>
              <a:t> отраслевое обучение и </a:t>
            </a:r>
            <a:r>
              <a:rPr lang="ru-RU" sz="1200" dirty="0" err="1"/>
              <a:t>тестрование</a:t>
            </a:r>
            <a:r>
              <a:rPr lang="ru-RU" sz="1200" dirty="0"/>
              <a:t>, добавить элемент соревнования в </a:t>
            </a:r>
            <a:r>
              <a:rPr lang="ru-RU" sz="1200" dirty="0" err="1"/>
              <a:t>дивизиональные</a:t>
            </a:r>
            <a:r>
              <a:rPr lang="ru-RU" sz="1200" dirty="0"/>
              <a:t> мероприятия / инициативы / процессы / проект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 smtClean="0"/>
          </a:p>
          <a:p>
            <a:r>
              <a:rPr lang="ru-RU" sz="1600" b="1" dirty="0">
                <a:solidFill>
                  <a:srgbClr val="F8820C"/>
                </a:solidFill>
              </a:rPr>
              <a:t>Виртуальный университет Росатома </a:t>
            </a:r>
            <a:r>
              <a:rPr lang="ru-RU" sz="1300" dirty="0"/>
              <a:t>на базе РЕКОРД mobile (для тех, кто любит посерьёзнее</a:t>
            </a:r>
            <a:r>
              <a:rPr lang="ru-RU" sz="13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/>
          </a:p>
          <a:p>
            <a:r>
              <a:rPr lang="ru-RU" sz="1200" b="1" dirty="0"/>
              <a:t>Цель внедрения</a:t>
            </a:r>
            <a:r>
              <a:rPr lang="ru-RU" sz="1200" dirty="0"/>
              <a:t>: </a:t>
            </a:r>
            <a:r>
              <a:rPr lang="ru-RU" sz="1200" dirty="0" smtClean="0"/>
              <a:t>предоставить сотрудникам возможность </a:t>
            </a:r>
            <a:r>
              <a:rPr lang="ru-RU" sz="1200" dirty="0"/>
              <a:t>комплексного и глубокого освоения программ МИФИ, МГУ, ВШЭ и других ВУЗов; получение сотрудниками сертификатов о переподготовке и повышении квалификац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2183" y="1190583"/>
            <a:ext cx="358656" cy="35865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567" y="2925377"/>
            <a:ext cx="390943" cy="390943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567" y="4053557"/>
            <a:ext cx="358656" cy="358656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0519DEC-71E3-4AC0-B052-3806262AEF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0567" y="5212563"/>
            <a:ext cx="358656" cy="35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0573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b-section52">
  <a:themeElements>
    <a:clrScheme name="b-section5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b-section53">
  <a:themeElements>
    <a:clrScheme name="b-section5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b-section54">
  <a:themeElements>
    <a:clrScheme name="b-section54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b-section55">
  <a:themeElements>
    <a:clrScheme name="b-section55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Моду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РОСАТОМ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1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-section55">
  <a:themeElements>
    <a:clrScheme name="b-section55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5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-section51">
  <a:themeElements>
    <a:clrScheme name="b-section5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-section52">
  <a:themeElements>
    <a:clrScheme name="b-section5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b-section53">
  <a:themeElements>
    <a:clrScheme name="b-section5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b-section54">
  <a:themeElements>
    <a:clrScheme name="b-section54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5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section5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54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247</TotalTime>
  <Words>935</Words>
  <Application>Microsoft Office PowerPoint</Application>
  <PresentationFormat>Экран (4:3)</PresentationFormat>
  <Paragraphs>208</Paragraphs>
  <Slides>1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33" baseType="lpstr">
      <vt:lpstr>Arial</vt:lpstr>
      <vt:lpstr>Arial Black</vt:lpstr>
      <vt:lpstr>Rosatom Light</vt:lpstr>
      <vt:lpstr>Wingdings</vt:lpstr>
      <vt:lpstr>b-default</vt:lpstr>
      <vt:lpstr>b-content</vt:lpstr>
      <vt:lpstr>b-section55</vt:lpstr>
      <vt:lpstr>b-section51</vt:lpstr>
      <vt:lpstr>b-section52</vt:lpstr>
      <vt:lpstr>b-section53</vt:lpstr>
      <vt:lpstr>b-section54</vt:lpstr>
      <vt:lpstr>1_b-default</vt:lpstr>
      <vt:lpstr>3_b-default</vt:lpstr>
      <vt:lpstr>1_b-section52</vt:lpstr>
      <vt:lpstr>1_b-section53</vt:lpstr>
      <vt:lpstr>1_b-section54</vt:lpstr>
      <vt:lpstr>1_b-section55</vt:lpstr>
      <vt:lpstr>РОСАТОМ</vt:lpstr>
      <vt:lpstr>8_b-default</vt:lpstr>
      <vt:lpstr>3_РОСАТОМ</vt:lpstr>
      <vt:lpstr>9_b-default</vt:lpstr>
      <vt:lpstr>Текст</vt:lpstr>
      <vt:lpstr>think-cell Slide</vt:lpstr>
      <vt:lpstr>Презентация PowerPoint</vt:lpstr>
      <vt:lpstr>КАКИЕ ПРОБЛЕМЫ МЫ РЕШАЛИ В 2018-2019 ГОДАХ?</vt:lpstr>
      <vt:lpstr>НАШИ ЦЕЛИ</vt:lpstr>
      <vt:lpstr>НАПРАВЛЕНИЯ РАЗВИТИЯ</vt:lpstr>
      <vt:lpstr>ЗАПУСК ПРОДУКТА. СТАТИСТИКА</vt:lpstr>
      <vt:lpstr>ПРОБЛЕМЫ, С КОТОРЫМИ МЫ СТОЛКНУЛИСЬ</vt:lpstr>
      <vt:lpstr>ДОСТИЖЕНИЯ 2020</vt:lpstr>
      <vt:lpstr>ЗАДАЧИ В РАБОТЕ</vt:lpstr>
      <vt:lpstr>ПЛАНЫ НА 2021</vt:lpstr>
      <vt:lpstr>ПРОДУКТОВАЯ КОМАНДА</vt:lpstr>
    </vt:vector>
  </TitlesOfParts>
  <Company>Гринатом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ртовое совещание по проекту</dc:title>
  <dc:creator>IrAKilchitskaya@Greenatom.ru</dc:creator>
  <cp:lastModifiedBy>Admin</cp:lastModifiedBy>
  <cp:revision>398</cp:revision>
  <cp:lastPrinted>2020-02-19T16:49:41Z</cp:lastPrinted>
  <dcterms:created xsi:type="dcterms:W3CDTF">2012-06-28T11:35:35Z</dcterms:created>
  <dcterms:modified xsi:type="dcterms:W3CDTF">2020-12-04T08:42:20Z</dcterms:modified>
</cp:coreProperties>
</file>